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37.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9.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41.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43.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45.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47.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49.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51.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tags/tag53.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55.xml" ContentType="application/vnd.openxmlformats-officedocument.presentationml.tags+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57.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tags/tag59.xml" ContentType="application/vnd.openxmlformats-officedocument.presentationml.tags+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61.xml" ContentType="application/vnd.openxmlformats-officedocument.presentationml.tags+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tags/tag63.xml" ContentType="application/vnd.openxmlformats-officedocument.presentationml.tags+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tags/tag65.xml" ContentType="application/vnd.openxmlformats-officedocument.presentationml.tags+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tags/tag67.xml" ContentType="application/vnd.openxmlformats-officedocument.presentationml.tags+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tags/tag69.xml" ContentType="application/vnd.openxmlformats-officedocument.presentationml.tags+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tags/tag71.xml" ContentType="application/vnd.openxmlformats-officedocument.presentationml.tags+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tags/tag73.xml" ContentType="application/vnd.openxmlformats-officedocument.presentationml.tags+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tags/tag75.xml" ContentType="application/vnd.openxmlformats-officedocument.presentationml.tags+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tags/tag77.xml" ContentType="application/vnd.openxmlformats-officedocument.presentationml.tags+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tags/tag79.xml" ContentType="application/vnd.openxmlformats-officedocument.presentationml.tags+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tags/tag81.xml" ContentType="application/vnd.openxmlformats-officedocument.presentationml.tags+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tags/tag83.xml" ContentType="application/vnd.openxmlformats-officedocument.presentationml.tags+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tags/tag85.xml" ContentType="application/vnd.openxmlformats-officedocument.presentationml.tags+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tags/tag87.xml" ContentType="application/vnd.openxmlformats-officedocument.presentationml.tags+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tags/tag89.xml" ContentType="application/vnd.openxmlformats-officedocument.presentationml.tags+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tags/tag91.xml" ContentType="application/vnd.openxmlformats-officedocument.presentationml.tags+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tags/tag93.xml" ContentType="application/vnd.openxmlformats-officedocument.presentationml.tags+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tags/tag94.xml" ContentType="application/vnd.openxmlformats-officedocument.presentationml.tags+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tags/tag95.xml" ContentType="application/vnd.openxmlformats-officedocument.presentationml.tags+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tags/tag96.xml" ContentType="application/vnd.openxmlformats-officedocument.presentationml.tags+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tags/tag97.xml" ContentType="application/vnd.openxmlformats-officedocument.presentationml.tags+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tags/tag98.xml" ContentType="application/vnd.openxmlformats-officedocument.presentationml.tags+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tags/tag99.xml" ContentType="application/vnd.openxmlformats-officedocument.presentationml.tags+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100.xml" ContentType="application/vnd.openxmlformats-officedocument.presentationml.tags+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tags/tag101.xml" ContentType="application/vnd.openxmlformats-officedocument.presentationml.tags+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tags/tag102.xml" ContentType="application/vnd.openxmlformats-officedocument.presentationml.tags+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tags/tag103.xml" ContentType="application/vnd.openxmlformats-officedocument.presentationml.tags+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tags/tag104.xml" ContentType="application/vnd.openxmlformats-officedocument.presentationml.tags+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tags/tag105.xml" ContentType="application/vnd.openxmlformats-officedocument.presentationml.tags+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tags/tag106.xml" ContentType="application/vnd.openxmlformats-officedocument.presentationml.tags+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tags/tag107.xml" ContentType="application/vnd.openxmlformats-officedocument.presentationml.tags+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108.xml" ContentType="application/vnd.openxmlformats-officedocument.presentationml.tags+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tags/tag109.xml" ContentType="application/vnd.openxmlformats-officedocument.presentationml.tags+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tags/tag110.xml" ContentType="application/vnd.openxmlformats-officedocument.presentationml.tags+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tags/tag111.xml" ContentType="application/vnd.openxmlformats-officedocument.presentationml.tags+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tags/tag112.xml" ContentType="application/vnd.openxmlformats-officedocument.presentationml.tags+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tags/tag113.xml" ContentType="application/vnd.openxmlformats-officedocument.presentationml.tags+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tags/tag114.xml" ContentType="application/vnd.openxmlformats-officedocument.presentationml.tags+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tags/tag115.xml" ContentType="application/vnd.openxmlformats-officedocument.presentationml.tags+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tags/tag116.xml" ContentType="application/vnd.openxmlformats-officedocument.presentationml.tags+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tags/tag117.xml" ContentType="application/vnd.openxmlformats-officedocument.presentationml.tags+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tags/tag118.xml" ContentType="application/vnd.openxmlformats-officedocument.presentationml.tags+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tags/tag119.xml" ContentType="application/vnd.openxmlformats-officedocument.presentationml.tags+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tags/tag120.xml" ContentType="application/vnd.openxmlformats-officedocument.presentationml.tags+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tags/tag121.xml" ContentType="application/vnd.openxmlformats-officedocument.presentationml.tags+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tags/tag122.xml" ContentType="application/vnd.openxmlformats-officedocument.presentationml.tags+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tags/tag123.xml" ContentType="application/vnd.openxmlformats-officedocument.presentationml.tags+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tags/tag124.xml" ContentType="application/vnd.openxmlformats-officedocument.presentationml.tags+xml"/>
  <Override PartName="/ppt/charts/chart28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tags/tag125.xml" ContentType="application/vnd.openxmlformats-officedocument.presentationml.tags+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tags/tag126.xml" ContentType="application/vnd.openxmlformats-officedocument.presentationml.tags+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104"/>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 id="2147475239" r:id="rId71"/>
    <p:sldId id="2147475240" r:id="rId72"/>
    <p:sldId id="2147475241" r:id="rId73"/>
    <p:sldId id="2147475242" r:id="rId74"/>
    <p:sldId id="2147475243" r:id="rId75"/>
    <p:sldId id="2147475244" r:id="rId76"/>
    <p:sldId id="2147475245" r:id="rId77"/>
    <p:sldId id="2147475246" r:id="rId78"/>
    <p:sldId id="2147475247" r:id="rId79"/>
    <p:sldId id="2147475248" r:id="rId80"/>
    <p:sldId id="2147475249" r:id="rId81"/>
    <p:sldId id="2147475250" r:id="rId82"/>
    <p:sldId id="2147475251" r:id="rId83"/>
    <p:sldId id="2147475252" r:id="rId84"/>
    <p:sldId id="2147475253" r:id="rId85"/>
    <p:sldId id="2147475254" r:id="rId86"/>
    <p:sldId id="2147475255" r:id="rId87"/>
    <p:sldId id="2147475256" r:id="rId88"/>
    <p:sldId id="2147475257" r:id="rId89"/>
    <p:sldId id="2147475258" r:id="rId90"/>
    <p:sldId id="2147475259" r:id="rId91"/>
    <p:sldId id="2147475260" r:id="rId92"/>
    <p:sldId id="2147475261" r:id="rId93"/>
    <p:sldId id="2147475262" r:id="rId94"/>
    <p:sldId id="2147475263" r:id="rId95"/>
    <p:sldId id="2147475264" r:id="rId96"/>
    <p:sldId id="2147475265" r:id="rId97"/>
    <p:sldId id="2147475266" r:id="rId98"/>
    <p:sldId id="2147475267" r:id="rId99"/>
    <p:sldId id="2147475268" r:id="rId100"/>
    <p:sldId id="2147475269" r:id="rId101"/>
    <p:sldId id="2147475270" r:id="rId102"/>
    <p:sldId id="2147475271" r:id="rId103"/>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Share Topline By Base Price Bracket" id="{8217CEDD-2A0A-4781-AEC1-624131E32998}">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07" Type="http://schemas.openxmlformats.org/officeDocument/2006/relationships/theme" Target="theme/theme1.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tableStyles" Target="tableStyle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microsoft.com/office/2015/10/relationships/revisionInfo" Target="revisionInfo.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microsoft.com/office/2018/10/relationships/authors" Target="author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754</c:v>
                </c:pt>
                <c:pt idx="3">
                  <c:v>4.2099999999999999E-2</c:v>
                </c:pt>
                <c:pt idx="4">
                  <c:v>2.8899999999999999E-2</c:v>
                </c:pt>
                <c:pt idx="5">
                  <c:v>0.1154</c:v>
                </c:pt>
                <c:pt idx="6">
                  <c:v>8.8200000000000001E-2</c:v>
                </c:pt>
                <c:pt idx="7">
                  <c:v>0.25259999999999999</c:v>
                </c:pt>
                <c:pt idx="8">
                  <c:v>0.297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754</c:v>
                </c:pt>
                <c:pt idx="3">
                  <c:v>4.2099999999999999E-2</c:v>
                </c:pt>
                <c:pt idx="4">
                  <c:v>2.8899999999999999E-2</c:v>
                </c:pt>
                <c:pt idx="5">
                  <c:v>0.1154</c:v>
                </c:pt>
                <c:pt idx="6">
                  <c:v>8.8200000000000001E-2</c:v>
                </c:pt>
                <c:pt idx="7">
                  <c:v>0.25259999999999999</c:v>
                </c:pt>
                <c:pt idx="8">
                  <c:v>0.297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29820000000000002</c:v>
                </c:pt>
                <c:pt idx="4">
                  <c:v>4.99E-2</c:v>
                </c:pt>
                <c:pt idx="5">
                  <c:v>0.2238</c:v>
                </c:pt>
                <c:pt idx="6">
                  <c:v>8.4699999999999998E-2</c:v>
                </c:pt>
                <c:pt idx="7">
                  <c:v>0.21990000000000001</c:v>
                </c:pt>
                <c:pt idx="8">
                  <c:v>8.9499999999999996E-2</c:v>
                </c:pt>
                <c:pt idx="9">
                  <c:v>3.37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2077901001157398E-2</c:v>
                </c:pt>
                <c:pt idx="1">
                  <c:v>1.6357704156459721E-2</c:v>
                </c:pt>
                <c:pt idx="2">
                  <c:v>2.8302490935711529E-2</c:v>
                </c:pt>
                <c:pt idx="3">
                  <c:v>4.2301193686235687E-2</c:v>
                </c:pt>
                <c:pt idx="4">
                  <c:v>8.7005975729223459E-2</c:v>
                </c:pt>
                <c:pt idx="5">
                  <c:v>9.6086658000910513E-2</c:v>
                </c:pt>
                <c:pt idx="6">
                  <c:v>0.11481564554959318</c:v>
                </c:pt>
                <c:pt idx="7">
                  <c:v>0.16444298417770556</c:v>
                </c:pt>
                <c:pt idx="8">
                  <c:v>0.2120085005494714</c:v>
                </c:pt>
                <c:pt idx="9">
                  <c:v>0.11609744764373198</c:v>
                </c:pt>
                <c:pt idx="10">
                  <c:v>6.050349856979948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3.0485968413759027E-8</c:v>
                </c:pt>
                <c:pt idx="2">
                  <c:v>5.1581744024967808E-8</c:v>
                </c:pt>
                <c:pt idx="3">
                  <c:v>5.7158776338552915E-3</c:v>
                </c:pt>
                <c:pt idx="4">
                  <c:v>9.5675606813126117E-4</c:v>
                </c:pt>
                <c:pt idx="5">
                  <c:v>4.2899108681728627E-3</c:v>
                </c:pt>
                <c:pt idx="6">
                  <c:v>1.6244894625011563E-3</c:v>
                </c:pt>
                <c:pt idx="7">
                  <c:v>4.216145629764927E-3</c:v>
                </c:pt>
                <c:pt idx="8">
                  <c:v>1.7156371054816149E-3</c:v>
                </c:pt>
                <c:pt idx="9">
                  <c:v>6.4606648922384648E-4</c:v>
                </c:pt>
                <c:pt idx="10">
                  <c:v>3.9693502671382957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1538444864487149E-2</c:v>
                </c:pt>
                <c:pt idx="1">
                  <c:v>2.2455816405880067E-3</c:v>
                </c:pt>
                <c:pt idx="2">
                  <c:v>4.1885230269920557E-3</c:v>
                </c:pt>
                <c:pt idx="3">
                  <c:v>1.2191580212386761E-2</c:v>
                </c:pt>
                <c:pt idx="4">
                  <c:v>4.0900130612295076E-2</c:v>
                </c:pt>
                <c:pt idx="5">
                  <c:v>3.0290824771388659E-2</c:v>
                </c:pt>
                <c:pt idx="6">
                  <c:v>3.526116598956102E-2</c:v>
                </c:pt>
                <c:pt idx="7">
                  <c:v>5.7462202796276729E-2</c:v>
                </c:pt>
                <c:pt idx="8">
                  <c:v>0.11288989348996172</c:v>
                </c:pt>
                <c:pt idx="9">
                  <c:v>8.7798703652214219E-2</c:v>
                </c:pt>
                <c:pt idx="10">
                  <c:v>5.253549651773003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0024264569493114E-5</c:v>
                </c:pt>
                <c:pt idx="1">
                  <c:v>9.8906128992593074E-5</c:v>
                </c:pt>
                <c:pt idx="2">
                  <c:v>2.537641720139052E-4</c:v>
                </c:pt>
                <c:pt idx="3">
                  <c:v>2.0673242661649641E-4</c:v>
                </c:pt>
                <c:pt idx="4">
                  <c:v>3.8652567641025732E-4</c:v>
                </c:pt>
                <c:pt idx="5">
                  <c:v>1.3988485320325549E-2</c:v>
                </c:pt>
                <c:pt idx="6">
                  <c:v>6.1977304894725894E-3</c:v>
                </c:pt>
                <c:pt idx="7">
                  <c:v>2.1303176671005927E-3</c:v>
                </c:pt>
                <c:pt idx="8">
                  <c:v>8.5674035279462971E-4</c:v>
                </c:pt>
                <c:pt idx="10">
                  <c:v>5.865397416584743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4487758012653802E-3</c:v>
                </c:pt>
                <c:pt idx="1">
                  <c:v>1.6333675682140224E-3</c:v>
                </c:pt>
                <c:pt idx="2">
                  <c:v>1.846215325734985E-3</c:v>
                </c:pt>
                <c:pt idx="3">
                  <c:v>2.2268276247024201E-4</c:v>
                </c:pt>
                <c:pt idx="4">
                  <c:v>1.7035596453114199E-3</c:v>
                </c:pt>
                <c:pt idx="5">
                  <c:v>6.4884704108218189E-3</c:v>
                </c:pt>
                <c:pt idx="6">
                  <c:v>7.464840919491492E-3</c:v>
                </c:pt>
                <c:pt idx="7">
                  <c:v>1.3014956824255595E-2</c:v>
                </c:pt>
                <c:pt idx="8">
                  <c:v>1.1485134011645847E-2</c:v>
                </c:pt>
                <c:pt idx="9">
                  <c:v>1.1462806448551389E-2</c:v>
                </c:pt>
                <c:pt idx="10">
                  <c:v>7.8572759857284498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9070625584866958E-2</c:v>
                </c:pt>
                <c:pt idx="1">
                  <c:v>1.2379848818665103E-2</c:v>
                </c:pt>
                <c:pt idx="2">
                  <c:v>2.2013936829226553E-2</c:v>
                </c:pt>
                <c:pt idx="3">
                  <c:v>2.3964320650906902E-2</c:v>
                </c:pt>
                <c:pt idx="4">
                  <c:v>4.3059003727075447E-2</c:v>
                </c:pt>
                <c:pt idx="5">
                  <c:v>4.1028966630201627E-2</c:v>
                </c:pt>
                <c:pt idx="6">
                  <c:v>6.4267418688566932E-2</c:v>
                </c:pt>
                <c:pt idx="7">
                  <c:v>8.7619361260307768E-2</c:v>
                </c:pt>
                <c:pt idx="8">
                  <c:v>8.5061095589587632E-2</c:v>
                </c:pt>
                <c:pt idx="9">
                  <c:v>1.6189871053742515E-2</c:v>
                </c:pt>
                <c:pt idx="10">
                  <c:v>7.950310028399996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39639999999999997</c:v>
                </c:pt>
                <c:pt idx="4">
                  <c:v>9.7199999999999995E-2</c:v>
                </c:pt>
                <c:pt idx="5">
                  <c:v>0.13550000000000001</c:v>
                </c:pt>
                <c:pt idx="6">
                  <c:v>6.8099999999999994E-2</c:v>
                </c:pt>
                <c:pt idx="7">
                  <c:v>0.1603</c:v>
                </c:pt>
                <c:pt idx="8">
                  <c:v>4.9000000000000002E-2</c:v>
                </c:pt>
                <c:pt idx="9">
                  <c:v>9.2799999999999994E-2</c:v>
                </c:pt>
                <c:pt idx="10">
                  <c:v>5.0000000000000001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0697147546730496E-2</c:v>
                </c:pt>
                <c:pt idx="1">
                  <c:v>2.762093286417321E-2</c:v>
                </c:pt>
                <c:pt idx="2">
                  <c:v>3.321975086399976E-2</c:v>
                </c:pt>
                <c:pt idx="3">
                  <c:v>5.0673883901639502E-2</c:v>
                </c:pt>
                <c:pt idx="4">
                  <c:v>8.0498478937970977E-2</c:v>
                </c:pt>
                <c:pt idx="5">
                  <c:v>0.11300954238676618</c:v>
                </c:pt>
                <c:pt idx="6">
                  <c:v>0.13054828460312656</c:v>
                </c:pt>
                <c:pt idx="7">
                  <c:v>0.16999688993527617</c:v>
                </c:pt>
                <c:pt idx="8">
                  <c:v>0.17596357403605911</c:v>
                </c:pt>
                <c:pt idx="9">
                  <c:v>0.1247508482589552</c:v>
                </c:pt>
                <c:pt idx="10">
                  <c:v>2.30206666653028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6896356463240782E-6</c:v>
                </c:pt>
                <c:pt idx="1">
                  <c:v>3.9607215488988784E-7</c:v>
                </c:pt>
                <c:pt idx="2">
                  <c:v>2.7463724884426656E-6</c:v>
                </c:pt>
                <c:pt idx="3">
                  <c:v>1.0401641215212906E-2</c:v>
                </c:pt>
                <c:pt idx="4">
                  <c:v>2.5501673259900166E-3</c:v>
                </c:pt>
                <c:pt idx="5">
                  <c:v>3.5556965300212423E-3</c:v>
                </c:pt>
                <c:pt idx="6">
                  <c:v>1.7860739078562468E-3</c:v>
                </c:pt>
                <c:pt idx="7">
                  <c:v>4.2072883066502989E-3</c:v>
                </c:pt>
                <c:pt idx="8">
                  <c:v>1.2870907741153095E-3</c:v>
                </c:pt>
                <c:pt idx="9">
                  <c:v>2.4358421192855737E-3</c:v>
                </c:pt>
                <c:pt idx="10">
                  <c:v>1.3201860733917374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3069188362529549E-2</c:v>
                </c:pt>
                <c:pt idx="1">
                  <c:v>6.7719151245464616E-3</c:v>
                </c:pt>
                <c:pt idx="2">
                  <c:v>8.0226464748428782E-3</c:v>
                </c:pt>
                <c:pt idx="3">
                  <c:v>1.2031283771403632E-2</c:v>
                </c:pt>
                <c:pt idx="4">
                  <c:v>2.854363725578982E-2</c:v>
                </c:pt>
                <c:pt idx="5">
                  <c:v>4.0881534773557035E-2</c:v>
                </c:pt>
                <c:pt idx="6">
                  <c:v>4.5462132927523519E-2</c:v>
                </c:pt>
                <c:pt idx="7">
                  <c:v>5.1487648851214561E-2</c:v>
                </c:pt>
                <c:pt idx="8">
                  <c:v>7.984020946647484E-2</c:v>
                </c:pt>
                <c:pt idx="9">
                  <c:v>9.3795015616492172E-2</c:v>
                </c:pt>
                <c:pt idx="10">
                  <c:v>1.69619982772821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6949239404878965E-8</c:v>
                </c:pt>
                <c:pt idx="1">
                  <c:v>1.458582667390066E-4</c:v>
                </c:pt>
                <c:pt idx="2">
                  <c:v>7.0414034353771587E-4</c:v>
                </c:pt>
                <c:pt idx="3">
                  <c:v>3.6955655324634191E-4</c:v>
                </c:pt>
                <c:pt idx="4">
                  <c:v>3.3291007919560734E-3</c:v>
                </c:pt>
                <c:pt idx="5">
                  <c:v>1.3581920957382672E-2</c:v>
                </c:pt>
                <c:pt idx="6">
                  <c:v>5.2992037059156737E-3</c:v>
                </c:pt>
                <c:pt idx="7">
                  <c:v>2.363480144909E-3</c:v>
                </c:pt>
                <c:pt idx="8">
                  <c:v>7.6660378061651536E-4</c:v>
                </c:pt>
                <c:pt idx="9">
                  <c:v>4.1077174001982182E-7</c:v>
                </c:pt>
                <c:pt idx="10">
                  <c:v>4.9545768324060818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8179328086945236E-3</c:v>
                </c:pt>
                <c:pt idx="1">
                  <c:v>2.4154203123220035E-3</c:v>
                </c:pt>
                <c:pt idx="2">
                  <c:v>1.839366437101204E-3</c:v>
                </c:pt>
                <c:pt idx="3">
                  <c:v>9.6860466282844987E-4</c:v>
                </c:pt>
                <c:pt idx="4">
                  <c:v>2.224397570271275E-3</c:v>
                </c:pt>
                <c:pt idx="5">
                  <c:v>3.2821535836255375E-3</c:v>
                </c:pt>
                <c:pt idx="6">
                  <c:v>9.0204175644999721E-3</c:v>
                </c:pt>
                <c:pt idx="7">
                  <c:v>1.3447783159853934E-2</c:v>
                </c:pt>
                <c:pt idx="8">
                  <c:v>1.1212361717378827E-2</c:v>
                </c:pt>
                <c:pt idx="9">
                  <c:v>9.1256167787695814E-3</c:v>
                </c:pt>
                <c:pt idx="10">
                  <c:v>1.6332872366593312E-8</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5808309790620699E-2</c:v>
                </c:pt>
                <c:pt idx="1">
                  <c:v>1.8287343088410846E-2</c:v>
                </c:pt>
                <c:pt idx="2">
                  <c:v>2.2650851236029522E-2</c:v>
                </c:pt>
                <c:pt idx="3">
                  <c:v>2.6902797698948176E-2</c:v>
                </c:pt>
                <c:pt idx="4">
                  <c:v>4.3851175993963792E-2</c:v>
                </c:pt>
                <c:pt idx="5">
                  <c:v>5.1708236542179681E-2</c:v>
                </c:pt>
                <c:pt idx="6">
                  <c:v>6.8980456497331158E-2</c:v>
                </c:pt>
                <c:pt idx="7">
                  <c:v>9.8490689472648343E-2</c:v>
                </c:pt>
                <c:pt idx="8">
                  <c:v>8.2857308297473592E-2</c:v>
                </c:pt>
                <c:pt idx="9">
                  <c:v>1.9393962972667864E-2</c:v>
                </c:pt>
                <c:pt idx="10">
                  <c:v>6.040495617582060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299999999999999E-2</c:v>
                </c:pt>
                <c:pt idx="2">
                  <c:v>5.3400000000000003E-2</c:v>
                </c:pt>
                <c:pt idx="3">
                  <c:v>0.26860000000000001</c:v>
                </c:pt>
                <c:pt idx="4">
                  <c:v>0.15590000000000001</c:v>
                </c:pt>
                <c:pt idx="5">
                  <c:v>0.1182</c:v>
                </c:pt>
                <c:pt idx="6">
                  <c:v>3.5499999999999997E-2</c:v>
                </c:pt>
                <c:pt idx="7">
                  <c:v>0.30740000000000001</c:v>
                </c:pt>
                <c:pt idx="8">
                  <c:v>4.7600000000000003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16974831059355E-2</c:v>
                </c:pt>
                <c:pt idx="1">
                  <c:v>1.5471007476381237E-2</c:v>
                </c:pt>
                <c:pt idx="2">
                  <c:v>2.8116529382288598E-2</c:v>
                </c:pt>
                <c:pt idx="3">
                  <c:v>6.0924029525371806E-2</c:v>
                </c:pt>
                <c:pt idx="4">
                  <c:v>9.3187425528592355E-2</c:v>
                </c:pt>
                <c:pt idx="5">
                  <c:v>9.3289653501717223E-2</c:v>
                </c:pt>
                <c:pt idx="6">
                  <c:v>0.10624332582688127</c:v>
                </c:pt>
                <c:pt idx="7">
                  <c:v>0.17288833054716357</c:v>
                </c:pt>
                <c:pt idx="8">
                  <c:v>0.17090235363397566</c:v>
                </c:pt>
                <c:pt idx="9">
                  <c:v>0.13659252312310796</c:v>
                </c:pt>
                <c:pt idx="10">
                  <c:v>5.821507314392683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1345246829749829E-4</c:v>
                </c:pt>
                <c:pt idx="2">
                  <c:v>8.5570907579887137E-4</c:v>
                </c:pt>
                <c:pt idx="3">
                  <c:v>4.3055072351107443E-3</c:v>
                </c:pt>
                <c:pt idx="4">
                  <c:v>2.4985981994780546E-3</c:v>
                </c:pt>
                <c:pt idx="5">
                  <c:v>1.8948968970152788E-3</c:v>
                </c:pt>
                <c:pt idx="6">
                  <c:v>5.6882219431843046E-4</c:v>
                </c:pt>
                <c:pt idx="7">
                  <c:v>4.9272250286147949E-3</c:v>
                </c:pt>
                <c:pt idx="8">
                  <c:v>7.6335155633749431E-4</c:v>
                </c:pt>
                <c:pt idx="9">
                  <c:v>2.0320686350137977E-7</c:v>
                </c:pt>
                <c:pt idx="10">
                  <c:v>5.2577999647210152E-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709575451865134E-2</c:v>
                </c:pt>
                <c:pt idx="1">
                  <c:v>2.1376147062245193E-3</c:v>
                </c:pt>
                <c:pt idx="2">
                  <c:v>2.6652669057921669E-3</c:v>
                </c:pt>
                <c:pt idx="3">
                  <c:v>2.4662535640707573E-2</c:v>
                </c:pt>
                <c:pt idx="4">
                  <c:v>4.45585303038303E-2</c:v>
                </c:pt>
                <c:pt idx="5">
                  <c:v>2.4833097961049617E-2</c:v>
                </c:pt>
                <c:pt idx="6">
                  <c:v>2.2501610407288115E-2</c:v>
                </c:pt>
                <c:pt idx="7">
                  <c:v>6.3916576005616621E-2</c:v>
                </c:pt>
                <c:pt idx="8">
                  <c:v>7.9913084957174543E-2</c:v>
                </c:pt>
                <c:pt idx="9">
                  <c:v>0.10666311283914565</c:v>
                </c:pt>
                <c:pt idx="10">
                  <c:v>5.269110274009989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1658698560818508E-3</c:v>
                </c:pt>
                <c:pt idx="1">
                  <c:v>8.959646396638982E-4</c:v>
                </c:pt>
                <c:pt idx="2">
                  <c:v>1.3220034602917333E-3</c:v>
                </c:pt>
                <c:pt idx="3">
                  <c:v>4.2025595118015072E-4</c:v>
                </c:pt>
                <c:pt idx="4">
                  <c:v>5.8769030685128796E-3</c:v>
                </c:pt>
                <c:pt idx="5">
                  <c:v>1.1446712251356579E-2</c:v>
                </c:pt>
                <c:pt idx="6">
                  <c:v>7.7241962709556798E-3</c:v>
                </c:pt>
                <c:pt idx="7">
                  <c:v>1.9110164590909029E-2</c:v>
                </c:pt>
                <c:pt idx="8">
                  <c:v>1.3334039337449676E-2</c:v>
                </c:pt>
                <c:pt idx="9">
                  <c:v>1.3008429469742575E-2</c:v>
                </c:pt>
                <c:pt idx="10">
                  <c:v>9.7941445126612574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Richesmont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441726336491115E-2</c:v>
                </c:pt>
                <c:pt idx="1">
                  <c:v>4.585391295448984E-4</c:v>
                </c:pt>
                <c:pt idx="2">
                  <c:v>2.9427153258224249E-3</c:v>
                </c:pt>
                <c:pt idx="3">
                  <c:v>4.8568856122759501E-4</c:v>
                </c:pt>
                <c:pt idx="4">
                  <c:v>4.1863455935319212E-6</c:v>
                </c:pt>
                <c:pt idx="5">
                  <c:v>5.6649242052325201E-6</c:v>
                </c:pt>
                <c:pt idx="6">
                  <c:v>3.4989948251709609E-5</c:v>
                </c:pt>
                <c:pt idx="7">
                  <c:v>1.4651854320607352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9277408102651716E-2</c:v>
                </c:pt>
                <c:pt idx="1">
                  <c:v>1.1978889000947922E-2</c:v>
                </c:pt>
                <c:pt idx="2">
                  <c:v>2.0330834614583397E-2</c:v>
                </c:pt>
                <c:pt idx="3">
                  <c:v>3.1050042137145739E-2</c:v>
                </c:pt>
                <c:pt idx="4">
                  <c:v>4.024920761117759E-2</c:v>
                </c:pt>
                <c:pt idx="5">
                  <c:v>5.5109281468090521E-2</c:v>
                </c:pt>
                <c:pt idx="6">
                  <c:v>7.5413707006067338E-2</c:v>
                </c:pt>
                <c:pt idx="7">
                  <c:v>8.4787846378817033E-2</c:v>
                </c:pt>
                <c:pt idx="8">
                  <c:v>7.6891877783013915E-2</c:v>
                </c:pt>
                <c:pt idx="9">
                  <c:v>1.6920777607356219E-2</c:v>
                </c:pt>
                <c:pt idx="10">
                  <c:v>5.425976380700686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3105</c:v>
                </c:pt>
                <c:pt idx="4">
                  <c:v>5.1999999999999998E-2</c:v>
                </c:pt>
                <c:pt idx="5">
                  <c:v>0.23300000000000001</c:v>
                </c:pt>
                <c:pt idx="6">
                  <c:v>8.7800000000000003E-2</c:v>
                </c:pt>
                <c:pt idx="7">
                  <c:v>0.22320000000000001</c:v>
                </c:pt>
                <c:pt idx="8">
                  <c:v>9.3200000000000005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788248935620394E-2</c:v>
                </c:pt>
                <c:pt idx="1">
                  <c:v>1.625320005116317E-2</c:v>
                </c:pt>
                <c:pt idx="2">
                  <c:v>2.1270985884982808E-2</c:v>
                </c:pt>
                <c:pt idx="3">
                  <c:v>3.9448936569282715E-2</c:v>
                </c:pt>
                <c:pt idx="4">
                  <c:v>5.1569641955082006E-2</c:v>
                </c:pt>
                <c:pt idx="5">
                  <c:v>0.10247762175383172</c:v>
                </c:pt>
                <c:pt idx="6">
                  <c:v>0.13074313124652509</c:v>
                </c:pt>
                <c:pt idx="7">
                  <c:v>0.1778504929039384</c:v>
                </c:pt>
                <c:pt idx="8">
                  <c:v>0.25637711642589039</c:v>
                </c:pt>
                <c:pt idx="9">
                  <c:v>0.10345857949612594</c:v>
                </c:pt>
                <c:pt idx="10">
                  <c:v>8.176204477755734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788248935620394E-2</c:v>
                </c:pt>
                <c:pt idx="1">
                  <c:v>1.625320005116317E-2</c:v>
                </c:pt>
                <c:pt idx="2">
                  <c:v>2.1270985884982808E-2</c:v>
                </c:pt>
                <c:pt idx="3">
                  <c:v>3.9448936569282715E-2</c:v>
                </c:pt>
                <c:pt idx="4">
                  <c:v>5.1569641955082006E-2</c:v>
                </c:pt>
                <c:pt idx="5">
                  <c:v>0.10247762175383172</c:v>
                </c:pt>
                <c:pt idx="6">
                  <c:v>0.13074313124652509</c:v>
                </c:pt>
                <c:pt idx="7">
                  <c:v>0.1778504929039384</c:v>
                </c:pt>
                <c:pt idx="8">
                  <c:v>0.25637711642589039</c:v>
                </c:pt>
                <c:pt idx="9">
                  <c:v>0.10345857949612594</c:v>
                </c:pt>
                <c:pt idx="10">
                  <c:v>8.176204477755734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8019103502611428E-8</c:v>
                </c:pt>
                <c:pt idx="2">
                  <c:v>9.0320756306839783E-8</c:v>
                </c:pt>
                <c:pt idx="3">
                  <c:v>1.0008626125500261E-2</c:v>
                </c:pt>
                <c:pt idx="4">
                  <c:v>1.6753006961716E-3</c:v>
                </c:pt>
                <c:pt idx="5">
                  <c:v>7.5117272869787656E-3</c:v>
                </c:pt>
                <c:pt idx="6">
                  <c:v>2.8290096108945081E-3</c:v>
                </c:pt>
                <c:pt idx="7">
                  <c:v>7.196062099894999E-3</c:v>
                </c:pt>
                <c:pt idx="8">
                  <c:v>3.0041179073001232E-3</c:v>
                </c:pt>
                <c:pt idx="9">
                  <c:v>4.0457392139238308E-6</c:v>
                </c:pt>
                <c:pt idx="10">
                  <c:v>6.9504186985447932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1502995667736095E-4</c:v>
                </c:pt>
                <c:pt idx="1">
                  <c:v>1.5781766020985556E-3</c:v>
                </c:pt>
                <c:pt idx="2">
                  <c:v>3.8052184184606233E-3</c:v>
                </c:pt>
                <c:pt idx="3">
                  <c:v>5.6842165206550822E-3</c:v>
                </c:pt>
                <c:pt idx="4">
                  <c:v>1.2580236671919459E-2</c:v>
                </c:pt>
                <c:pt idx="5">
                  <c:v>1.7576204074262958E-2</c:v>
                </c:pt>
                <c:pt idx="6">
                  <c:v>3.4002858493369002E-2</c:v>
                </c:pt>
                <c:pt idx="7">
                  <c:v>5.9833767044558027E-2</c:v>
                </c:pt>
                <c:pt idx="8">
                  <c:v>0.11951105033809074</c:v>
                </c:pt>
                <c:pt idx="9">
                  <c:v>7.3471425974962631E-2</c:v>
                </c:pt>
                <c:pt idx="10">
                  <c:v>6.815649476340042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5062923028144014E-5</c:v>
                </c:pt>
                <c:pt idx="1">
                  <c:v>1.7318678425585544E-4</c:v>
                </c:pt>
                <c:pt idx="2">
                  <c:v>4.4434658759852217E-4</c:v>
                </c:pt>
                <c:pt idx="3">
                  <c:v>3.6199297790536205E-4</c:v>
                </c:pt>
                <c:pt idx="4">
                  <c:v>6.7681487094520645E-4</c:v>
                </c:pt>
                <c:pt idx="5">
                  <c:v>2.4494142212550325E-2</c:v>
                </c:pt>
                <c:pt idx="6">
                  <c:v>1.0852360961741908E-2</c:v>
                </c:pt>
                <c:pt idx="7">
                  <c:v>3.7302325949508872E-3</c:v>
                </c:pt>
                <c:pt idx="8">
                  <c:v>1.5001710020805755E-3</c:v>
                </c:pt>
                <c:pt idx="10">
                  <c:v>1.0270438518900948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6.5174421652564193E-5</c:v>
                </c:pt>
                <c:pt idx="2">
                  <c:v>1.4591216823912765E-4</c:v>
                </c:pt>
                <c:pt idx="3">
                  <c:v>4.7300146694355001E-8</c:v>
                </c:pt>
                <c:pt idx="4">
                  <c:v>5.9666567332679705E-3</c:v>
                </c:pt>
                <c:pt idx="5">
                  <c:v>5.7075510344521702E-7</c:v>
                </c:pt>
                <c:pt idx="6">
                  <c:v>1.4161758745822069E-2</c:v>
                </c:pt>
                <c:pt idx="7">
                  <c:v>4.1118891447922672E-3</c:v>
                </c:pt>
                <c:pt idx="8">
                  <c:v>2.076204306371536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8272963615158823E-2</c:v>
                </c:pt>
                <c:pt idx="1">
                  <c:v>1.4501836664808761E-2</c:v>
                </c:pt>
                <c:pt idx="2">
                  <c:v>1.6875418389928228E-2</c:v>
                </c:pt>
                <c:pt idx="3">
                  <c:v>2.3394053645075314E-2</c:v>
                </c:pt>
                <c:pt idx="4">
                  <c:v>3.0670632982777765E-2</c:v>
                </c:pt>
                <c:pt idx="5">
                  <c:v>5.2894977424936228E-2</c:v>
                </c:pt>
                <c:pt idx="6">
                  <c:v>6.8897143434697591E-2</c:v>
                </c:pt>
                <c:pt idx="7">
                  <c:v>0.10297854201974223</c:v>
                </c:pt>
                <c:pt idx="8">
                  <c:v>0.11159973411470359</c:v>
                </c:pt>
                <c:pt idx="9">
                  <c:v>2.9983107781949399E-2</c:v>
                </c:pt>
                <c:pt idx="10">
                  <c:v>1.358832915693947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41799999999999998</c:v>
                </c:pt>
                <c:pt idx="4">
                  <c:v>0.10249999999999999</c:v>
                </c:pt>
                <c:pt idx="5">
                  <c:v>0.1429</c:v>
                </c:pt>
                <c:pt idx="6">
                  <c:v>7.1800000000000003E-2</c:v>
                </c:pt>
                <c:pt idx="7">
                  <c:v>0.1661</c:v>
                </c:pt>
                <c:pt idx="8">
                  <c:v>5.1700000000000003E-2</c:v>
                </c:pt>
                <c:pt idx="9">
                  <c:v>4.6300000000000001E-2</c:v>
                </c:pt>
                <c:pt idx="10">
                  <c:v>5.0000000000000001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86739615292647E-2</c:v>
                </c:pt>
                <c:pt idx="1">
                  <c:v>2.2440013185811045E-2</c:v>
                </c:pt>
                <c:pt idx="2">
                  <c:v>2.5308299426034547E-2</c:v>
                </c:pt>
                <c:pt idx="3">
                  <c:v>5.3762350004310379E-2</c:v>
                </c:pt>
                <c:pt idx="4">
                  <c:v>6.0479768899024261E-2</c:v>
                </c:pt>
                <c:pt idx="5">
                  <c:v>0.11906086687087766</c:v>
                </c:pt>
                <c:pt idx="6">
                  <c:v>0.13389055283916435</c:v>
                </c:pt>
                <c:pt idx="7">
                  <c:v>0.18936383046379762</c:v>
                </c:pt>
                <c:pt idx="8">
                  <c:v>0.20795372780999541</c:v>
                </c:pt>
                <c:pt idx="9">
                  <c:v>0.13703616353638809</c:v>
                </c:pt>
                <c:pt idx="10">
                  <c:v>2.67176873493040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7415229367946326E-6</c:v>
                </c:pt>
                <c:pt idx="1">
                  <c:v>6.426479576343146E-7</c:v>
                </c:pt>
                <c:pt idx="2">
                  <c:v>4.4561341887096903E-6</c:v>
                </c:pt>
                <c:pt idx="3">
                  <c:v>1.687721138806102E-2</c:v>
                </c:pt>
                <c:pt idx="4">
                  <c:v>4.1377809660183397E-3</c:v>
                </c:pt>
                <c:pt idx="5">
                  <c:v>5.7693051247716251E-3</c:v>
                </c:pt>
                <c:pt idx="6">
                  <c:v>2.8979991016709087E-3</c:v>
                </c:pt>
                <c:pt idx="7">
                  <c:v>6.704058442431768E-3</c:v>
                </c:pt>
                <c:pt idx="8">
                  <c:v>2.0856655822744283E-3</c:v>
                </c:pt>
                <c:pt idx="9">
                  <c:v>1.8707747056201961E-3</c:v>
                </c:pt>
                <c:pt idx="10">
                  <c:v>2.1420715222920265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5391047572087941E-3</c:v>
                </c:pt>
                <c:pt idx="1">
                  <c:v>2.1760974128159269E-3</c:v>
                </c:pt>
                <c:pt idx="2">
                  <c:v>4.6734883283602981E-3</c:v>
                </c:pt>
                <c:pt idx="3">
                  <c:v>7.4046321693773025E-3</c:v>
                </c:pt>
                <c:pt idx="4">
                  <c:v>1.024889265131663E-2</c:v>
                </c:pt>
                <c:pt idx="5">
                  <c:v>3.3528355125194316E-2</c:v>
                </c:pt>
                <c:pt idx="6">
                  <c:v>3.4686229188508416E-2</c:v>
                </c:pt>
                <c:pt idx="7">
                  <c:v>5.1855161672868022E-2</c:v>
                </c:pt>
                <c:pt idx="8">
                  <c:v>8.3091045777973854E-2</c:v>
                </c:pt>
                <c:pt idx="9">
                  <c:v>0.10231532411148089</c:v>
                </c:pt>
                <c:pt idx="10">
                  <c:v>1.748888636423203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4.3726562065839961E-8</c:v>
                </c:pt>
                <c:pt idx="1">
                  <c:v>2.3666272942101448E-4</c:v>
                </c:pt>
                <c:pt idx="2">
                  <c:v>1.1425048392716256E-3</c:v>
                </c:pt>
                <c:pt idx="3">
                  <c:v>5.9962499570353405E-4</c:v>
                </c:pt>
                <c:pt idx="4">
                  <c:v>5.4016415905433594E-3</c:v>
                </c:pt>
                <c:pt idx="5">
                  <c:v>2.2037382977450795E-2</c:v>
                </c:pt>
                <c:pt idx="6">
                  <c:v>8.5982374591358716E-3</c:v>
                </c:pt>
                <c:pt idx="7">
                  <c:v>3.8348711700202424E-3</c:v>
                </c:pt>
                <c:pt idx="8">
                  <c:v>1.2438550598562307E-3</c:v>
                </c:pt>
                <c:pt idx="9">
                  <c:v>6.6649880967022722E-7</c:v>
                </c:pt>
                <c:pt idx="10">
                  <c:v>8.0390621834379105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1876399266549199E-5</c:v>
                </c:pt>
                <c:pt idx="2">
                  <c:v>3.7273581542790242E-6</c:v>
                </c:pt>
                <c:pt idx="3">
                  <c:v>2.2684810380823638E-6</c:v>
                </c:pt>
                <c:pt idx="4">
                  <c:v>5.8254288297067977E-3</c:v>
                </c:pt>
                <c:pt idx="5">
                  <c:v>2.8816122412749011E-3</c:v>
                </c:pt>
                <c:pt idx="6">
                  <c:v>1.3929193074528797E-2</c:v>
                </c:pt>
                <c:pt idx="7">
                  <c:v>8.9317796994320929E-3</c:v>
                </c:pt>
                <c:pt idx="8">
                  <c:v>1.400585368811422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432973209318443E-2</c:v>
                </c:pt>
                <c:pt idx="1">
                  <c:v>2.002661039561647E-2</c:v>
                </c:pt>
                <c:pt idx="2">
                  <c:v>1.9484122766059632E-2</c:v>
                </c:pt>
                <c:pt idx="3">
                  <c:v>2.8878612970130439E-2</c:v>
                </c:pt>
                <c:pt idx="4">
                  <c:v>3.4866024861439138E-2</c:v>
                </c:pt>
                <c:pt idx="5">
                  <c:v>5.4844211402186024E-2</c:v>
                </c:pt>
                <c:pt idx="6">
                  <c:v>7.3778894015320354E-2</c:v>
                </c:pt>
                <c:pt idx="7">
                  <c:v>0.11803795947904545</c:v>
                </c:pt>
                <c:pt idx="8">
                  <c:v>0.10752730770177668</c:v>
                </c:pt>
                <c:pt idx="9">
                  <c:v>3.2849398220477326E-2</c:v>
                </c:pt>
                <c:pt idx="10">
                  <c:v>9.199341207665632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299999999999999E-2</c:v>
                </c:pt>
                <c:pt idx="2">
                  <c:v>5.3400000000000003E-2</c:v>
                </c:pt>
                <c:pt idx="3">
                  <c:v>0.26860000000000001</c:v>
                </c:pt>
                <c:pt idx="4">
                  <c:v>0.15590000000000001</c:v>
                </c:pt>
                <c:pt idx="5">
                  <c:v>0.1182</c:v>
                </c:pt>
                <c:pt idx="6">
                  <c:v>3.5499999999999997E-2</c:v>
                </c:pt>
                <c:pt idx="7">
                  <c:v>0.30740000000000001</c:v>
                </c:pt>
                <c:pt idx="8">
                  <c:v>4.7600000000000003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52188913803921E-2</c:v>
                </c:pt>
                <c:pt idx="1">
                  <c:v>1.0611634200708155E-2</c:v>
                </c:pt>
                <c:pt idx="2">
                  <c:v>1.7191212706328902E-2</c:v>
                </c:pt>
                <c:pt idx="3">
                  <c:v>6.6578812746713373E-2</c:v>
                </c:pt>
                <c:pt idx="4">
                  <c:v>4.927328215654455E-2</c:v>
                </c:pt>
                <c:pt idx="5">
                  <c:v>0.11854085069659605</c:v>
                </c:pt>
                <c:pt idx="6">
                  <c:v>0.13211262069559299</c:v>
                </c:pt>
                <c:pt idx="7">
                  <c:v>0.17977269388689268</c:v>
                </c:pt>
                <c:pt idx="8">
                  <c:v>0.23087809969636761</c:v>
                </c:pt>
                <c:pt idx="9">
                  <c:v>0.10988083240827315</c:v>
                </c:pt>
                <c:pt idx="10">
                  <c:v>6.863807166794330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5.2234069967889679E-4</c:v>
                </c:pt>
                <c:pt idx="2">
                  <c:v>2.0940103477810343E-3</c:v>
                </c:pt>
                <c:pt idx="3">
                  <c:v>1.0536030244100283E-2</c:v>
                </c:pt>
                <c:pt idx="4">
                  <c:v>6.1143332852576573E-3</c:v>
                </c:pt>
                <c:pt idx="5">
                  <c:v>4.6370125344572166E-3</c:v>
                </c:pt>
                <c:pt idx="6">
                  <c:v>1.3917748991098035E-3</c:v>
                </c:pt>
                <c:pt idx="7">
                  <c:v>1.2057357529448601E-2</c:v>
                </c:pt>
                <c:pt idx="8">
                  <c:v>1.8668924664963134E-3</c:v>
                </c:pt>
                <c:pt idx="9">
                  <c:v>1.7560884983545893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4149108069524487E-5</c:v>
                </c:pt>
                <c:pt idx="1">
                  <c:v>2.1327781747590665E-4</c:v>
                </c:pt>
                <c:pt idx="2">
                  <c:v>2.8495578613399373E-3</c:v>
                </c:pt>
                <c:pt idx="3">
                  <c:v>1.9948897581279674E-2</c:v>
                </c:pt>
                <c:pt idx="4">
                  <c:v>8.8411875055026644E-3</c:v>
                </c:pt>
                <c:pt idx="5">
                  <c:v>1.5400350178303924E-2</c:v>
                </c:pt>
                <c:pt idx="6">
                  <c:v>2.5090493457164603E-2</c:v>
                </c:pt>
                <c:pt idx="7">
                  <c:v>5.3895054972498725E-2</c:v>
                </c:pt>
                <c:pt idx="8">
                  <c:v>7.1219179236332295E-2</c:v>
                </c:pt>
                <c:pt idx="9">
                  <c:v>7.5303100396673095E-2</c:v>
                </c:pt>
                <c:pt idx="10">
                  <c:v>5.741957327233792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9284787648484429E-7</c:v>
                </c:pt>
                <c:pt idx="1">
                  <c:v>1.3620987421890945E-5</c:v>
                </c:pt>
                <c:pt idx="2">
                  <c:v>8.0619936517678981E-4</c:v>
                </c:pt>
                <c:pt idx="3">
                  <c:v>9.2597677167495745E-4</c:v>
                </c:pt>
                <c:pt idx="4">
                  <c:v>4.3676981068689631E-3</c:v>
                </c:pt>
                <c:pt idx="5">
                  <c:v>2.6284456288494407E-2</c:v>
                </c:pt>
                <c:pt idx="6">
                  <c:v>1.0780449943847505E-2</c:v>
                </c:pt>
                <c:pt idx="7">
                  <c:v>7.2712739458988809E-3</c:v>
                </c:pt>
                <c:pt idx="8">
                  <c:v>6.8412861142186007E-4</c:v>
                </c:pt>
                <c:pt idx="9">
                  <c:v>2.7958319854991877E-6</c:v>
                </c:pt>
                <c:pt idx="10">
                  <c:v>1.58221835000265E-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3.5985382993955874E-4</c:v>
                </c:pt>
                <c:pt idx="4">
                  <c:v>7.2635871466402418E-3</c:v>
                </c:pt>
                <c:pt idx="5">
                  <c:v>2.5096938823564012E-4</c:v>
                </c:pt>
                <c:pt idx="6">
                  <c:v>2.1362992191333415E-2</c:v>
                </c:pt>
                <c:pt idx="7">
                  <c:v>4.4676734421713283E-3</c:v>
                </c:pt>
                <c:pt idx="8">
                  <c:v>2.387589919403135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5954606482414303E-2</c:v>
                </c:pt>
                <c:pt idx="1">
                  <c:v>1.0384735395810359E-2</c:v>
                </c:pt>
                <c:pt idx="2">
                  <c:v>1.1441445132031139E-2</c:v>
                </c:pt>
                <c:pt idx="3">
                  <c:v>3.4808054319718902E-2</c:v>
                </c:pt>
                <c:pt idx="4">
                  <c:v>2.2686476112275027E-2</c:v>
                </c:pt>
                <c:pt idx="5">
                  <c:v>7.1968062307104869E-2</c:v>
                </c:pt>
                <c:pt idx="6">
                  <c:v>7.3486910204137695E-2</c:v>
                </c:pt>
                <c:pt idx="7">
                  <c:v>0.10208133399687513</c:v>
                </c:pt>
                <c:pt idx="8">
                  <c:v>0.13323200018808576</c:v>
                </c:pt>
                <c:pt idx="9">
                  <c:v>3.4574760570764716E-2</c:v>
                </c:pt>
                <c:pt idx="10">
                  <c:v>1.121834017377038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0195170591014295E-2</c:v>
                </c:pt>
                <c:pt idx="1">
                  <c:v>6.5559309181143974E-4</c:v>
                </c:pt>
                <c:pt idx="2">
                  <c:v>1.8509581616242188E-3</c:v>
                </c:pt>
                <c:pt idx="3">
                  <c:v>0.14860049297530936</c:v>
                </c:pt>
                <c:pt idx="4">
                  <c:v>0.35490978902863579</c:v>
                </c:pt>
                <c:pt idx="5">
                  <c:v>9.2347322437613608E-2</c:v>
                </c:pt>
                <c:pt idx="6">
                  <c:v>2.4790528801785797E-2</c:v>
                </c:pt>
                <c:pt idx="7">
                  <c:v>0.12812039009766801</c:v>
                </c:pt>
                <c:pt idx="8">
                  <c:v>0.22102038676692065</c:v>
                </c:pt>
                <c:pt idx="9">
                  <c:v>7.438768929166038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4.5439890486952397E-3</c:v>
                </c:pt>
                <c:pt idx="3">
                  <c:v>1.0914792650602583E-3</c:v>
                </c:pt>
                <c:pt idx="4">
                  <c:v>7.4756575465424139E-4</c:v>
                </c:pt>
                <c:pt idx="5">
                  <c:v>2.9901051262225236E-3</c:v>
                </c:pt>
                <c:pt idx="6">
                  <c:v>2.285169642351142E-3</c:v>
                </c:pt>
                <c:pt idx="7">
                  <c:v>6.5446320914866844E-3</c:v>
                </c:pt>
                <c:pt idx="8">
                  <c:v>7.706044172956959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1502995667736095E-4</c:v>
                </c:pt>
                <c:pt idx="1">
                  <c:v>1.5781766020985556E-3</c:v>
                </c:pt>
                <c:pt idx="2">
                  <c:v>3.8052184184606233E-3</c:v>
                </c:pt>
                <c:pt idx="3">
                  <c:v>5.6842165206550822E-3</c:v>
                </c:pt>
                <c:pt idx="4">
                  <c:v>1.2580236671919459E-2</c:v>
                </c:pt>
                <c:pt idx="5">
                  <c:v>1.7576204074262958E-2</c:v>
                </c:pt>
                <c:pt idx="6">
                  <c:v>3.4002858493369002E-2</c:v>
                </c:pt>
                <c:pt idx="7">
                  <c:v>5.9833767044558027E-2</c:v>
                </c:pt>
                <c:pt idx="8">
                  <c:v>0.11951105033809074</c:v>
                </c:pt>
                <c:pt idx="9">
                  <c:v>7.3471425974962631E-2</c:v>
                </c:pt>
                <c:pt idx="10">
                  <c:v>6.815649476340042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5062923028144014E-5</c:v>
                </c:pt>
                <c:pt idx="1">
                  <c:v>1.7318678425585544E-4</c:v>
                </c:pt>
                <c:pt idx="2">
                  <c:v>4.4434658759852217E-4</c:v>
                </c:pt>
                <c:pt idx="3">
                  <c:v>3.6199297790536205E-4</c:v>
                </c:pt>
                <c:pt idx="4">
                  <c:v>6.7681487094520645E-4</c:v>
                </c:pt>
                <c:pt idx="5">
                  <c:v>2.4494142212550325E-2</c:v>
                </c:pt>
                <c:pt idx="6">
                  <c:v>1.0852360961741908E-2</c:v>
                </c:pt>
                <c:pt idx="7">
                  <c:v>3.7302325949508872E-3</c:v>
                </c:pt>
                <c:pt idx="8">
                  <c:v>1.5001710020805755E-3</c:v>
                </c:pt>
                <c:pt idx="10">
                  <c:v>1.0270438518900948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6.5174421652564193E-5</c:v>
                </c:pt>
                <c:pt idx="2">
                  <c:v>1.4591216823912765E-4</c:v>
                </c:pt>
                <c:pt idx="3">
                  <c:v>4.7300146694355001E-8</c:v>
                </c:pt>
                <c:pt idx="4">
                  <c:v>5.9666567332679705E-3</c:v>
                </c:pt>
                <c:pt idx="5">
                  <c:v>5.7075510344521702E-7</c:v>
                </c:pt>
                <c:pt idx="6">
                  <c:v>1.4161758745822069E-2</c:v>
                </c:pt>
                <c:pt idx="7">
                  <c:v>4.1118891447922672E-3</c:v>
                </c:pt>
                <c:pt idx="8">
                  <c:v>2.076204306371536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8272981634262327E-2</c:v>
                </c:pt>
                <c:pt idx="1">
                  <c:v>1.4501836664808761E-2</c:v>
                </c:pt>
                <c:pt idx="2">
                  <c:v>1.2331519661989296E-2</c:v>
                </c:pt>
                <c:pt idx="3">
                  <c:v>3.2311200505515315E-2</c:v>
                </c:pt>
                <c:pt idx="4">
                  <c:v>3.1598367924295122E-2</c:v>
                </c:pt>
                <c:pt idx="5">
                  <c:v>5.7416599585692472E-2</c:v>
                </c:pt>
                <c:pt idx="6">
                  <c:v>6.9440983403240966E-2</c:v>
                </c:pt>
                <c:pt idx="7">
                  <c:v>0.10362997202815054</c:v>
                </c:pt>
                <c:pt idx="8">
                  <c:v>0.10689780784904675</c:v>
                </c:pt>
                <c:pt idx="9">
                  <c:v>2.9987153521163323E-2</c:v>
                </c:pt>
                <c:pt idx="10">
                  <c:v>1.359527957563802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8.139294344834435E-6</c:v>
                </c:pt>
                <c:pt idx="3">
                  <c:v>0.14599777078309215</c:v>
                </c:pt>
                <c:pt idx="4">
                  <c:v>0.3510318236626534</c:v>
                </c:pt>
                <c:pt idx="5">
                  <c:v>3.7263721959881675E-3</c:v>
                </c:pt>
                <c:pt idx="6">
                  <c:v>1.0554014983310694E-3</c:v>
                </c:pt>
                <c:pt idx="7">
                  <c:v>2.148157798940302E-2</c:v>
                </c:pt>
                <c:pt idx="8">
                  <c:v>7.4162946944252003E-2</c:v>
                </c:pt>
                <c:pt idx="9">
                  <c:v>6.312739820105259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3.7673915802067669E-4</c:v>
                </c:pt>
                <c:pt idx="4">
                  <c:v>1.6905418825910495E-6</c:v>
                </c:pt>
                <c:pt idx="5">
                  <c:v>2.1511670584655771E-6</c:v>
                </c:pt>
                <c:pt idx="6">
                  <c:v>1.2273239093347952E-3</c:v>
                </c:pt>
                <c:pt idx="7">
                  <c:v>3.1593521019129306E-3</c:v>
                </c:pt>
                <c:pt idx="8">
                  <c:v>0.1403805132452864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8.4379100484128458E-2</c:v>
                </c:pt>
                <c:pt idx="6">
                  <c:v>2.791801703843977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0195170591014295E-2</c:v>
                </c:pt>
                <c:pt idx="1">
                  <c:v>6.5559309181143974E-4</c:v>
                </c:pt>
                <c:pt idx="2">
                  <c:v>1.4660797092587077E-3</c:v>
                </c:pt>
                <c:pt idx="3">
                  <c:v>2.6027221922172144E-3</c:v>
                </c:pt>
                <c:pt idx="4">
                  <c:v>3.8762748240998295E-3</c:v>
                </c:pt>
                <c:pt idx="5">
                  <c:v>4.2396985904385245E-3</c:v>
                </c:pt>
                <c:pt idx="6">
                  <c:v>1.9716001690275955E-2</c:v>
                </c:pt>
                <c:pt idx="7">
                  <c:v>0.10347946000635207</c:v>
                </c:pt>
                <c:pt idx="8">
                  <c:v>6.4769265773821855E-3</c:v>
                </c:pt>
                <c:pt idx="9">
                  <c:v>1.126029109060779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5229844271682886E-2</c:v>
                </c:pt>
                <c:pt idx="1">
                  <c:v>1.2590592051960471E-3</c:v>
                </c:pt>
                <c:pt idx="2">
                  <c:v>3.2731555461713205E-2</c:v>
                </c:pt>
                <c:pt idx="3">
                  <c:v>0.14152197984434281</c:v>
                </c:pt>
                <c:pt idx="4">
                  <c:v>0.32430501393489058</c:v>
                </c:pt>
                <c:pt idx="5">
                  <c:v>7.9996151681788266E-2</c:v>
                </c:pt>
                <c:pt idx="6">
                  <c:v>9.6445642492324651E-2</c:v>
                </c:pt>
                <c:pt idx="7">
                  <c:v>0.11128880451125545</c:v>
                </c:pt>
                <c:pt idx="8">
                  <c:v>0.17753774739433337</c:v>
                </c:pt>
                <c:pt idx="9">
                  <c:v>9.291375765223822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7.6306696888571608E-4</c:v>
                </c:pt>
                <c:pt idx="1">
                  <c:v>1.1067148522188636E-3</c:v>
                </c:pt>
                <c:pt idx="2">
                  <c:v>3.1917241394296705E-2</c:v>
                </c:pt>
                <c:pt idx="3">
                  <c:v>0.13974770750722393</c:v>
                </c:pt>
                <c:pt idx="4">
                  <c:v>0.31695016280460753</c:v>
                </c:pt>
                <c:pt idx="5">
                  <c:v>1.0432005279822222E-2</c:v>
                </c:pt>
                <c:pt idx="6">
                  <c:v>4.9663120821023532E-3</c:v>
                </c:pt>
                <c:pt idx="7">
                  <c:v>3.5720986788880867E-2</c:v>
                </c:pt>
                <c:pt idx="8">
                  <c:v>6.5527654846109049E-2</c:v>
                </c:pt>
                <c:pt idx="9">
                  <c:v>4.364436769423264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8.0194853834143125E-7</c:v>
                </c:pt>
                <c:pt idx="6">
                  <c:v>2.8578858975719765E-3</c:v>
                </c:pt>
                <c:pt idx="7">
                  <c:v>3.9156353241981738E-2</c:v>
                </c:pt>
                <c:pt idx="8">
                  <c:v>0.1058370807396873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2.6462490913729043E-3</c:v>
                </c:pt>
                <c:pt idx="5">
                  <c:v>6.3878383003740671E-2</c:v>
                </c:pt>
                <c:pt idx="6">
                  <c:v>2.866358095839938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4466777302797171E-2</c:v>
                </c:pt>
                <c:pt idx="1">
                  <c:v>1.5234435297718351E-4</c:v>
                </c:pt>
                <c:pt idx="2">
                  <c:v>8.143140674165023E-4</c:v>
                </c:pt>
                <c:pt idx="3">
                  <c:v>1.7742723371188839E-3</c:v>
                </c:pt>
                <c:pt idx="4">
                  <c:v>4.7086020389101807E-3</c:v>
                </c:pt>
                <c:pt idx="5">
                  <c:v>5.6849614496870295E-3</c:v>
                </c:pt>
                <c:pt idx="6">
                  <c:v>5.9957863554250923E-2</c:v>
                </c:pt>
                <c:pt idx="7">
                  <c:v>3.6411464480392841E-2</c:v>
                </c:pt>
                <c:pt idx="8">
                  <c:v>6.1730118085370107E-3</c:v>
                </c:pt>
                <c:pt idx="9">
                  <c:v>4.92693899580055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0096130298614627E-3</c:v>
                </c:pt>
                <c:pt idx="3">
                  <c:v>0.26864620226306141</c:v>
                </c:pt>
                <c:pt idx="4">
                  <c:v>0.24445258049451576</c:v>
                </c:pt>
                <c:pt idx="5">
                  <c:v>9.7099623144768832E-2</c:v>
                </c:pt>
                <c:pt idx="6">
                  <c:v>2.9819821017562358E-2</c:v>
                </c:pt>
                <c:pt idx="7">
                  <c:v>0.16448722706132768</c:v>
                </c:pt>
                <c:pt idx="8">
                  <c:v>0.1922824145702286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3.0064925207559088E-3</c:v>
                </c:pt>
                <c:pt idx="3">
                  <c:v>0.26852109344841774</c:v>
                </c:pt>
                <c:pt idx="4">
                  <c:v>0.24392545046056749</c:v>
                </c:pt>
                <c:pt idx="5">
                  <c:v>2.5698310281031214E-6</c:v>
                </c:pt>
                <c:pt idx="6">
                  <c:v>6.3813100070295365E-4</c:v>
                </c:pt>
                <c:pt idx="7">
                  <c:v>2.9943015570317748E-2</c:v>
                </c:pt>
                <c:pt idx="8">
                  <c:v>6.419610978454511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2.5776978577809882E-5</c:v>
                </c:pt>
                <c:pt idx="6">
                  <c:v>8.9463160462635669E-3</c:v>
                </c:pt>
                <c:pt idx="7">
                  <c:v>6.4434317387190906E-3</c:v>
                </c:pt>
                <c:pt idx="8">
                  <c:v>0.1086332345810203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9.709188742891893E-2</c:v>
                </c:pt>
                <c:pt idx="6">
                  <c:v>1.503311817291936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2">
                  <c:v>3.1205091055537905E-6</c:v>
                </c:pt>
                <c:pt idx="3">
                  <c:v>1.251088146436734E-4</c:v>
                </c:pt>
                <c:pt idx="4">
                  <c:v>5.0135305537044462E-4</c:v>
                </c:pt>
                <c:pt idx="5">
                  <c:v>5.1658848217991322E-6</c:v>
                </c:pt>
                <c:pt idx="6">
                  <c:v>5.2022557976764694E-3</c:v>
                </c:pt>
                <c:pt idx="7">
                  <c:v>0.12810077975229084</c:v>
                </c:pt>
                <c:pt idx="8">
                  <c:v>1.945307020466317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1.17E-2</c:v>
                </c:pt>
                <c:pt idx="7">
                  <c:v>0.14030000000000001</c:v>
                </c:pt>
                <c:pt idx="9">
                  <c:v>0.8479999999999999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0597465735164769E-3</c:v>
                </c:pt>
                <c:pt idx="2">
                  <c:v>2.9168365172154057E-2</c:v>
                </c:pt>
                <c:pt idx="3">
                  <c:v>3.1453681444016668E-3</c:v>
                </c:pt>
                <c:pt idx="4">
                  <c:v>1.5735665051344716E-2</c:v>
                </c:pt>
                <c:pt idx="5">
                  <c:v>1.4067589267378135E-2</c:v>
                </c:pt>
                <c:pt idx="6">
                  <c:v>3.4514891105569899E-2</c:v>
                </c:pt>
                <c:pt idx="7">
                  <c:v>0.16517909111599685</c:v>
                </c:pt>
                <c:pt idx="8">
                  <c:v>0.21716158558225279</c:v>
                </c:pt>
                <c:pt idx="9">
                  <c:v>0.21383677043095903</c:v>
                </c:pt>
                <c:pt idx="10">
                  <c:v>0.3029403576247336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1172739562999571E-6</c:v>
                </c:pt>
                <c:pt idx="6">
                  <c:v>4.8993530442947028E-4</c:v>
                </c:pt>
                <c:pt idx="7">
                  <c:v>5.8924672635528429E-3</c:v>
                </c:pt>
                <c:pt idx="9">
                  <c:v>3.561472989503588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060342799291042E-6</c:v>
                </c:pt>
                <c:pt idx="4">
                  <c:v>1.0888083777954995E-6</c:v>
                </c:pt>
                <c:pt idx="6">
                  <c:v>1.6528822814398294E-3</c:v>
                </c:pt>
                <c:pt idx="7">
                  <c:v>2.7908435969179008E-3</c:v>
                </c:pt>
                <c:pt idx="8">
                  <c:v>0.20811155267390913</c:v>
                </c:pt>
                <c:pt idx="9">
                  <c:v>3.6608107420895188E-2</c:v>
                </c:pt>
                <c:pt idx="10">
                  <c:v>0.3005643998345182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6011887908757345E-6</c:v>
                </c:pt>
                <c:pt idx="2">
                  <c:v>4.4121646681909131E-7</c:v>
                </c:pt>
                <c:pt idx="6">
                  <c:v>2.8136900702255784E-2</c:v>
                </c:pt>
                <c:pt idx="7">
                  <c:v>7.4357969195604168E-2</c:v>
                </c:pt>
                <c:pt idx="8">
                  <c:v>7.8280340887258131E-8</c:v>
                </c:pt>
                <c:pt idx="9">
                  <c:v>0.1409115449654304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8865704481721732E-3</c:v>
                </c:pt>
                <c:pt idx="2">
                  <c:v>1.9805844259383077E-2</c:v>
                </c:pt>
                <c:pt idx="3">
                  <c:v>6.2394413163383011E-4</c:v>
                </c:pt>
                <c:pt idx="4">
                  <c:v>5.5933153826548728E-3</c:v>
                </c:pt>
                <c:pt idx="5">
                  <c:v>5.397529133701214E-3</c:v>
                </c:pt>
                <c:pt idx="6">
                  <c:v>3.1690657385066278E-3</c:v>
                </c:pt>
                <c:pt idx="7">
                  <c:v>2.1682138633715139E-2</c:v>
                </c:pt>
                <c:pt idx="8">
                  <c:v>2.84254420387662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1693973197978371E-3</c:v>
                </c:pt>
                <c:pt idx="2">
                  <c:v>9.362079696304159E-3</c:v>
                </c:pt>
                <c:pt idx="3">
                  <c:v>2.5214240127678367E-3</c:v>
                </c:pt>
                <c:pt idx="4">
                  <c:v>1.0141260860312048E-2</c:v>
                </c:pt>
                <c:pt idx="5">
                  <c:v>8.6700601336769188E-3</c:v>
                </c:pt>
                <c:pt idx="6">
                  <c:v>1.0661070789381947E-3</c:v>
                </c:pt>
                <c:pt idx="7">
                  <c:v>6.0455672426206794E-2</c:v>
                </c:pt>
                <c:pt idx="8">
                  <c:v>6.2074104241261604E-3</c:v>
                </c:pt>
                <c:pt idx="9">
                  <c:v>7.0238814959748888E-4</c:v>
                </c:pt>
                <c:pt idx="10">
                  <c:v>2.375957790215432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285</c:v>
                </c:pt>
                <c:pt idx="3">
                  <c:v>0.14899999999999999</c:v>
                </c:pt>
                <c:pt idx="4">
                  <c:v>2.6499999999999999E-2</c:v>
                </c:pt>
                <c:pt idx="5">
                  <c:v>0.106</c:v>
                </c:pt>
                <c:pt idx="6">
                  <c:v>9.4100000000000003E-2</c:v>
                </c:pt>
                <c:pt idx="7">
                  <c:v>0.25729999999999997</c:v>
                </c:pt>
                <c:pt idx="8">
                  <c:v>0.2384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5.5500000000000001E-2</c:v>
                </c:pt>
                <c:pt idx="8">
                  <c:v>1.1999999999999999E-3</c:v>
                </c:pt>
                <c:pt idx="9">
                  <c:v>0.9433000000000000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070636178401637E-3</c:v>
                </c:pt>
                <c:pt idx="1">
                  <c:v>2.8111852108087237E-3</c:v>
                </c:pt>
                <c:pt idx="2">
                  <c:v>1.1733795016715527E-2</c:v>
                </c:pt>
                <c:pt idx="3">
                  <c:v>7.5748521230272065E-3</c:v>
                </c:pt>
                <c:pt idx="4">
                  <c:v>1.9009215663064603E-2</c:v>
                </c:pt>
                <c:pt idx="5">
                  <c:v>1.1686734111054545E-2</c:v>
                </c:pt>
                <c:pt idx="6">
                  <c:v>4.4282416000018393E-2</c:v>
                </c:pt>
                <c:pt idx="7">
                  <c:v>0.13481352044305056</c:v>
                </c:pt>
                <c:pt idx="8">
                  <c:v>0.11237839726299749</c:v>
                </c:pt>
                <c:pt idx="9">
                  <c:v>0.48396240184152367</c:v>
                </c:pt>
                <c:pt idx="10">
                  <c:v>0.1653404187098991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7">
                  <c:v>5.3117914288242588E-3</c:v>
                </c:pt>
                <c:pt idx="8">
                  <c:v>1.1739368774773056E-4</c:v>
                </c:pt>
                <c:pt idx="9">
                  <c:v>9.026574759035521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7">
                  <c:v>2.7049562776030312E-2</c:v>
                </c:pt>
                <c:pt idx="8">
                  <c:v>4.2746587078764671E-2</c:v>
                </c:pt>
                <c:pt idx="9">
                  <c:v>0.27813644559724826</c:v>
                </c:pt>
                <c:pt idx="10">
                  <c:v>0.1628828510979154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2928820236534203E-5</c:v>
                </c:pt>
                <c:pt idx="2">
                  <c:v>4.7118367084257985E-6</c:v>
                </c:pt>
                <c:pt idx="4">
                  <c:v>3.4187823005025577E-3</c:v>
                </c:pt>
                <c:pt idx="5">
                  <c:v>3.8619822582109498E-4</c:v>
                </c:pt>
                <c:pt idx="6">
                  <c:v>2.2537117206363508E-2</c:v>
                </c:pt>
                <c:pt idx="7">
                  <c:v>5.0549503590764343E-2</c:v>
                </c:pt>
                <c:pt idx="8">
                  <c:v>6.4183490413710756E-2</c:v>
                </c:pt>
                <c:pt idx="9">
                  <c:v>0.1155602086539201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8156097404007821E-6</c:v>
                </c:pt>
                <c:pt idx="6">
                  <c:v>4.5803649719760638E-3</c:v>
                </c:pt>
                <c:pt idx="7">
                  <c:v>1.731393129222696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6.3913191878632279E-3</c:v>
                </c:pt>
                <c:pt idx="1">
                  <c:v>2.8111852108087237E-3</c:v>
                </c:pt>
                <c:pt idx="2">
                  <c:v>1.1729083180007101E-2</c:v>
                </c:pt>
                <c:pt idx="3">
                  <c:v>7.5748521230272056E-3</c:v>
                </c:pt>
                <c:pt idx="4">
                  <c:v>1.5590433362562044E-2</c:v>
                </c:pt>
                <c:pt idx="5">
                  <c:v>1.1300535885233449E-2</c:v>
                </c:pt>
                <c:pt idx="6">
                  <c:v>1.7164933821678816E-2</c:v>
                </c:pt>
                <c:pt idx="7">
                  <c:v>3.4588731355204683E-2</c:v>
                </c:pt>
                <c:pt idx="8">
                  <c:v>5.3309260827743296E-3</c:v>
                </c:pt>
                <c:pt idx="10">
                  <c:v>2.457567611983694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0.1052</c:v>
                </c:pt>
                <c:pt idx="7">
                  <c:v>4.4499999999999998E-2</c:v>
                </c:pt>
                <c:pt idx="8">
                  <c:v>0.60470000000000002</c:v>
                </c:pt>
                <c:pt idx="9">
                  <c:v>0.1754</c:v>
                </c:pt>
                <c:pt idx="10">
                  <c:v>7.0099999999999996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7551825169099855E-3</c:v>
                </c:pt>
                <c:pt idx="1">
                  <c:v>1.1268512829684938E-3</c:v>
                </c:pt>
                <c:pt idx="2">
                  <c:v>3.8703371073333062E-2</c:v>
                </c:pt>
                <c:pt idx="3">
                  <c:v>1.0655250804924096E-2</c:v>
                </c:pt>
                <c:pt idx="4">
                  <c:v>8.443658709353704E-3</c:v>
                </c:pt>
                <c:pt idx="5">
                  <c:v>1.0672400633581458E-2</c:v>
                </c:pt>
                <c:pt idx="6">
                  <c:v>7.6999872366786709E-2</c:v>
                </c:pt>
                <c:pt idx="7">
                  <c:v>0.17887076019304027</c:v>
                </c:pt>
                <c:pt idx="8">
                  <c:v>0.22096490143235031</c:v>
                </c:pt>
                <c:pt idx="9">
                  <c:v>0.24223439627367618</c:v>
                </c:pt>
                <c:pt idx="10">
                  <c:v>0.2055733547130757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6">
                  <c:v>3.1413052491210713E-6</c:v>
                </c:pt>
                <c:pt idx="7">
                  <c:v>1.330102222600814E-6</c:v>
                </c:pt>
                <c:pt idx="8">
                  <c:v>1.8055430170623815E-5</c:v>
                </c:pt>
                <c:pt idx="9">
                  <c:v>5.2355087485351191E-6</c:v>
                </c:pt>
                <c:pt idx="10">
                  <c:v>2.0942034994140474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6">
                  <c:v>3.0564051072529343E-6</c:v>
                </c:pt>
                <c:pt idx="8">
                  <c:v>0.20018513890936712</c:v>
                </c:pt>
                <c:pt idx="9">
                  <c:v>5.4016300261237736E-2</c:v>
                </c:pt>
                <c:pt idx="10">
                  <c:v>0.2016702121909245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3.327519560285185E-4</c:v>
                </c:pt>
                <c:pt idx="6">
                  <c:v>6.7340471925928583E-2</c:v>
                </c:pt>
                <c:pt idx="7">
                  <c:v>9.9744563773166067E-2</c:v>
                </c:pt>
                <c:pt idx="8">
                  <c:v>1.982022111958949E-3</c:v>
                </c:pt>
                <c:pt idx="9">
                  <c:v>0.1882128605036899</c:v>
                </c:pt>
                <c:pt idx="10">
                  <c:v>3.901048318651740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3.5059513584447199E-3</c:v>
                </c:pt>
                <c:pt idx="2">
                  <c:v>2.4324966047018264E-2</c:v>
                </c:pt>
                <c:pt idx="3">
                  <c:v>8.7386301022509012E-3</c:v>
                </c:pt>
                <c:pt idx="4">
                  <c:v>4.7587378518509508E-3</c:v>
                </c:pt>
                <c:pt idx="5">
                  <c:v>3.2449683223420667E-3</c:v>
                </c:pt>
                <c:pt idx="6">
                  <c:v>7.4354978247168652E-3</c:v>
                </c:pt>
                <c:pt idx="7">
                  <c:v>1.5131356084496016E-2</c:v>
                </c:pt>
                <c:pt idx="8">
                  <c:v>4.092413238422521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492311584652656E-3</c:v>
                </c:pt>
                <c:pt idx="1">
                  <c:v>1.1268512829684938E-3</c:v>
                </c:pt>
                <c:pt idx="2">
                  <c:v>1.4378405026314798E-2</c:v>
                </c:pt>
                <c:pt idx="3">
                  <c:v>1.9166207026731941E-3</c:v>
                </c:pt>
                <c:pt idx="4">
                  <c:v>3.6849208575027528E-3</c:v>
                </c:pt>
                <c:pt idx="5">
                  <c:v>7.0946803552108736E-3</c:v>
                </c:pt>
                <c:pt idx="6">
                  <c:v>2.2177049057848976E-3</c:v>
                </c:pt>
                <c:pt idx="7">
                  <c:v>6.3993510233155596E-2</c:v>
                </c:pt>
                <c:pt idx="8">
                  <c:v>1.468727174243108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3105</c:v>
                </c:pt>
                <c:pt idx="4">
                  <c:v>5.1999999999999998E-2</c:v>
                </c:pt>
                <c:pt idx="5">
                  <c:v>0.23300000000000001</c:v>
                </c:pt>
                <c:pt idx="6">
                  <c:v>8.7800000000000003E-2</c:v>
                </c:pt>
                <c:pt idx="7">
                  <c:v>0.22320000000000001</c:v>
                </c:pt>
                <c:pt idx="8">
                  <c:v>9.3200000000000005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452095700271858E-2</c:v>
                </c:pt>
                <c:pt idx="1">
                  <c:v>6.9038415366902443E-3</c:v>
                </c:pt>
                <c:pt idx="2">
                  <c:v>3.8993138108884502E-2</c:v>
                </c:pt>
                <c:pt idx="3">
                  <c:v>9.2885754275378318E-2</c:v>
                </c:pt>
                <c:pt idx="4">
                  <c:v>0.12661389106941554</c:v>
                </c:pt>
                <c:pt idx="5">
                  <c:v>0.14139828617238459</c:v>
                </c:pt>
                <c:pt idx="6">
                  <c:v>8.327672553420401E-2</c:v>
                </c:pt>
                <c:pt idx="7">
                  <c:v>0.25943750265456544</c:v>
                </c:pt>
                <c:pt idx="8">
                  <c:v>0.16769832304927204</c:v>
                </c:pt>
                <c:pt idx="9">
                  <c:v>5.0813195599909045E-2</c:v>
                </c:pt>
                <c:pt idx="10">
                  <c:v>3.527246299024460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7.4054053967207621E-7</c:v>
                </c:pt>
                <c:pt idx="3">
                  <c:v>8.2060798596221757E-2</c:v>
                </c:pt>
                <c:pt idx="4">
                  <c:v>1.3735802625934962E-2</c:v>
                </c:pt>
                <c:pt idx="5">
                  <c:v>6.1588706809217263E-2</c:v>
                </c:pt>
                <c:pt idx="6">
                  <c:v>2.3195070431785789E-2</c:v>
                </c:pt>
                <c:pt idx="7">
                  <c:v>5.9000565638160689E-2</c:v>
                </c:pt>
                <c:pt idx="8">
                  <c:v>2.4630784631086092E-2</c:v>
                </c:pt>
                <c:pt idx="9">
                  <c:v>3.3171045320672899E-5</c:v>
                </c:pt>
                <c:pt idx="10">
                  <c:v>5.6986533599004805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8448348675945187E-2</c:v>
                </c:pt>
                <c:pt idx="1">
                  <c:v>6.9038415366902443E-3</c:v>
                </c:pt>
                <c:pt idx="2">
                  <c:v>1.7361982186284391E-3</c:v>
                </c:pt>
                <c:pt idx="3">
                  <c:v>1.8755435712991535E-3</c:v>
                </c:pt>
                <c:pt idx="4">
                  <c:v>0.10477416679766324</c:v>
                </c:pt>
                <c:pt idx="5">
                  <c:v>5.0671865007636957E-3</c:v>
                </c:pt>
                <c:pt idx="6">
                  <c:v>2.6783593228682716E-2</c:v>
                </c:pt>
                <c:pt idx="7">
                  <c:v>6.6655607066131453E-2</c:v>
                </c:pt>
                <c:pt idx="8">
                  <c:v>4.4421204234486155E-3</c:v>
                </c:pt>
                <c:pt idx="10">
                  <c:v>2.585926936375606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1.9236787063778384E-3</c:v>
                </c:pt>
                <c:pt idx="5">
                  <c:v>9.3823032982912943E-3</c:v>
                </c:pt>
                <c:pt idx="6">
                  <c:v>5.4704191349204496E-3</c:v>
                </c:pt>
                <c:pt idx="7">
                  <c:v>6.9353981666997425E-2</c:v>
                </c:pt>
                <c:pt idx="8">
                  <c:v>4.7075678262511508E-2</c:v>
                </c:pt>
                <c:pt idx="9">
                  <c:v>4.8835529456781143E-2</c:v>
                </c:pt>
                <c:pt idx="10">
                  <c:v>3.211667071787894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3.7256199349716392E-2</c:v>
                </c:pt>
                <c:pt idx="3">
                  <c:v>8.9490464544238445E-3</c:v>
                </c:pt>
                <c:pt idx="4">
                  <c:v>6.129297074432178E-3</c:v>
                </c:pt>
                <c:pt idx="5">
                  <c:v>2.4515893736835173E-2</c:v>
                </c:pt>
                <c:pt idx="6">
                  <c:v>1.5661540441294683E-2</c:v>
                </c:pt>
                <c:pt idx="7">
                  <c:v>5.1338440136598447E-2</c:v>
                </c:pt>
                <c:pt idx="8">
                  <c:v>5.778867381508910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7470243266699317E-6</c:v>
                </c:pt>
                <c:pt idx="3">
                  <c:v>3.6565343355379327E-7</c:v>
                </c:pt>
                <c:pt idx="4">
                  <c:v>5.0945865007315628E-5</c:v>
                </c:pt>
                <c:pt idx="5">
                  <c:v>4.0844195827277142E-2</c:v>
                </c:pt>
                <c:pt idx="6">
                  <c:v>1.2166102297520376E-2</c:v>
                </c:pt>
                <c:pt idx="7">
                  <c:v>1.3088908146677429E-2</c:v>
                </c:pt>
                <c:pt idx="8">
                  <c:v>3.3761065917136714E-2</c:v>
                </c:pt>
                <c:pt idx="9">
                  <c:v>1.944495097807224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41799999999999998</c:v>
                </c:pt>
                <c:pt idx="4">
                  <c:v>0.10249999999999999</c:v>
                </c:pt>
                <c:pt idx="5">
                  <c:v>0.1429</c:v>
                </c:pt>
                <c:pt idx="6">
                  <c:v>7.1800000000000003E-2</c:v>
                </c:pt>
                <c:pt idx="7">
                  <c:v>0.1661</c:v>
                </c:pt>
                <c:pt idx="8">
                  <c:v>5.1700000000000003E-2</c:v>
                </c:pt>
                <c:pt idx="9">
                  <c:v>4.6300000000000001E-2</c:v>
                </c:pt>
                <c:pt idx="10">
                  <c:v>5.0000000000000001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86739615292647E-2</c:v>
                </c:pt>
                <c:pt idx="1">
                  <c:v>2.2440013185811045E-2</c:v>
                </c:pt>
                <c:pt idx="2">
                  <c:v>2.5308299426034547E-2</c:v>
                </c:pt>
                <c:pt idx="3">
                  <c:v>5.3762350004310379E-2</c:v>
                </c:pt>
                <c:pt idx="4">
                  <c:v>6.0479768899024261E-2</c:v>
                </c:pt>
                <c:pt idx="5">
                  <c:v>0.11906086687087766</c:v>
                </c:pt>
                <c:pt idx="6">
                  <c:v>0.13389055283916435</c:v>
                </c:pt>
                <c:pt idx="7">
                  <c:v>0.18936383046379762</c:v>
                </c:pt>
                <c:pt idx="8">
                  <c:v>0.20795372780999541</c:v>
                </c:pt>
                <c:pt idx="9">
                  <c:v>0.13703616353638809</c:v>
                </c:pt>
                <c:pt idx="10">
                  <c:v>2.67176873493040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613377585847987E-2</c:v>
                </c:pt>
                <c:pt idx="1">
                  <c:v>1.56302030123537E-2</c:v>
                </c:pt>
                <c:pt idx="2">
                  <c:v>3.5294981321742719E-2</c:v>
                </c:pt>
                <c:pt idx="3">
                  <c:v>0.17153808610810198</c:v>
                </c:pt>
                <c:pt idx="4">
                  <c:v>0.13353047605469773</c:v>
                </c:pt>
                <c:pt idx="5">
                  <c:v>0.12917153792881839</c:v>
                </c:pt>
                <c:pt idx="6">
                  <c:v>7.2507313656684891E-2</c:v>
                </c:pt>
                <c:pt idx="7">
                  <c:v>0.21110141717184974</c:v>
                </c:pt>
                <c:pt idx="8">
                  <c:v>0.1733531988133058</c:v>
                </c:pt>
                <c:pt idx="9">
                  <c:v>1.9940538619508948E-2</c:v>
                </c:pt>
                <c:pt idx="10">
                  <c:v>9.3188697270881003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0856614831110494E-5</c:v>
                </c:pt>
                <c:pt idx="1">
                  <c:v>5.0857004490138715E-6</c:v>
                </c:pt>
                <c:pt idx="2">
                  <c:v>3.5264351773265254E-5</c:v>
                </c:pt>
                <c:pt idx="3">
                  <c:v>0.13356059179014013</c:v>
                </c:pt>
                <c:pt idx="4">
                  <c:v>3.2745011116607166E-2</c:v>
                </c:pt>
                <c:pt idx="5">
                  <c:v>4.5656346239016515E-2</c:v>
                </c:pt>
                <c:pt idx="6">
                  <c:v>2.2933793156152984E-2</c:v>
                </c:pt>
                <c:pt idx="7">
                  <c:v>5.3053670560782258E-2</c:v>
                </c:pt>
                <c:pt idx="8">
                  <c:v>1.6505258068993306E-2</c:v>
                </c:pt>
                <c:pt idx="9">
                  <c:v>1.4804683726685523E-2</c:v>
                </c:pt>
                <c:pt idx="10">
                  <c:v>1.6951635764692421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8591776466415062E-2</c:v>
                </c:pt>
                <c:pt idx="1">
                  <c:v>1.5611160472115745E-2</c:v>
                </c:pt>
                <c:pt idx="2">
                  <c:v>4.5091497937806138E-3</c:v>
                </c:pt>
                <c:pt idx="3">
                  <c:v>2.2503123458954121E-3</c:v>
                </c:pt>
                <c:pt idx="4">
                  <c:v>9.2942297705621374E-2</c:v>
                </c:pt>
                <c:pt idx="5">
                  <c:v>5.9604618982048718E-3</c:v>
                </c:pt>
                <c:pt idx="6">
                  <c:v>3.4556862681935428E-3</c:v>
                </c:pt>
                <c:pt idx="7">
                  <c:v>3.8628411545534092E-2</c:v>
                </c:pt>
                <c:pt idx="8">
                  <c:v>4.4743153671999457E-2</c:v>
                </c:pt>
                <c:pt idx="10">
                  <c:v>4.3540936029773809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4.9284107444051948E-7</c:v>
                </c:pt>
                <c:pt idx="1">
                  <c:v>1.3956839788943221E-5</c:v>
                </c:pt>
                <c:pt idx="2">
                  <c:v>3.0743646429186058E-2</c:v>
                </c:pt>
                <c:pt idx="3">
                  <c:v>3.564450001734381E-2</c:v>
                </c:pt>
                <c:pt idx="4">
                  <c:v>6.3327037131317649E-3</c:v>
                </c:pt>
                <c:pt idx="5">
                  <c:v>2.5358413952695731E-2</c:v>
                </c:pt>
                <c:pt idx="6">
                  <c:v>1.714739853104838E-2</c:v>
                </c:pt>
                <c:pt idx="7">
                  <c:v>5.4161420006419936E-2</c:v>
                </c:pt>
                <c:pt idx="8">
                  <c:v>5.3248888056162243E-2</c:v>
                </c:pt>
                <c:pt idx="9">
                  <c:v>3.4603735013908812E-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4.1209902607473226E-6</c:v>
                </c:pt>
                <c:pt idx="5">
                  <c:v>2.1621063767469275E-2</c:v>
                </c:pt>
                <c:pt idx="6">
                  <c:v>8.9742060403692619E-3</c:v>
                </c:pt>
                <c:pt idx="7">
                  <c:v>3.1776012162394951E-2</c:v>
                </c:pt>
                <c:pt idx="8">
                  <c:v>3.6309541860389913E-2</c:v>
                </c:pt>
                <c:pt idx="9">
                  <c:v>5.1323840333417263E-3</c:v>
                </c:pt>
                <c:pt idx="10">
                  <c:v>8.71394400914343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516635273738823E-7</c:v>
                </c:pt>
                <c:pt idx="2">
                  <c:v>6.9207470027817628E-6</c:v>
                </c:pt>
                <c:pt idx="3">
                  <c:v>8.2681954722627565E-5</c:v>
                </c:pt>
                <c:pt idx="4">
                  <c:v>1.5063425290766795E-3</c:v>
                </c:pt>
                <c:pt idx="5">
                  <c:v>3.0575252071432007E-2</c:v>
                </c:pt>
                <c:pt idx="6">
                  <c:v>1.9996229660920725E-2</c:v>
                </c:pt>
                <c:pt idx="7">
                  <c:v>3.3481902896718506E-2</c:v>
                </c:pt>
                <c:pt idx="8">
                  <c:v>2.254635715576089E-2</c:v>
                </c:pt>
                <c:pt idx="9">
                  <c:v>3.1248221315590384E-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299999999999999E-2</c:v>
                </c:pt>
                <c:pt idx="2">
                  <c:v>5.3400000000000003E-2</c:v>
                </c:pt>
                <c:pt idx="3">
                  <c:v>0.26860000000000001</c:v>
                </c:pt>
                <c:pt idx="4">
                  <c:v>0.15590000000000001</c:v>
                </c:pt>
                <c:pt idx="5">
                  <c:v>0.1182</c:v>
                </c:pt>
                <c:pt idx="6">
                  <c:v>3.5499999999999997E-2</c:v>
                </c:pt>
                <c:pt idx="7">
                  <c:v>0.30740000000000001</c:v>
                </c:pt>
                <c:pt idx="8">
                  <c:v>4.7600000000000003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9437627523840919E-2</c:v>
                </c:pt>
                <c:pt idx="1">
                  <c:v>1.7339094554510329E-2</c:v>
                </c:pt>
                <c:pt idx="2">
                  <c:v>4.8088716519655232E-2</c:v>
                </c:pt>
                <c:pt idx="3">
                  <c:v>0.20562364600569663</c:v>
                </c:pt>
                <c:pt idx="4">
                  <c:v>6.6748547419724566E-2</c:v>
                </c:pt>
                <c:pt idx="5">
                  <c:v>0.12200576981432011</c:v>
                </c:pt>
                <c:pt idx="6">
                  <c:v>4.6184937163428488E-2</c:v>
                </c:pt>
                <c:pt idx="7">
                  <c:v>0.2232454479683828</c:v>
                </c:pt>
                <c:pt idx="8">
                  <c:v>0.15135974545254935</c:v>
                </c:pt>
                <c:pt idx="9">
                  <c:v>8.959978013454500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3.9433076220715705E-3</c:v>
                </c:pt>
                <c:pt idx="2">
                  <c:v>1.5808316239147732E-2</c:v>
                </c:pt>
                <c:pt idx="3">
                  <c:v>7.9539672848540577E-2</c:v>
                </c:pt>
                <c:pt idx="4">
                  <c:v>4.6158947718345923E-2</c:v>
                </c:pt>
                <c:pt idx="5">
                  <c:v>3.5006207408320195E-2</c:v>
                </c:pt>
                <c:pt idx="6">
                  <c:v>1.0506928851688921E-2</c:v>
                </c:pt>
                <c:pt idx="7">
                  <c:v>9.1024631772222628E-2</c:v>
                </c:pt>
                <c:pt idx="8">
                  <c:v>1.4093734792729056E-2</c:v>
                </c:pt>
                <c:pt idx="9">
                  <c:v>1.3257242188576946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4747136481628206E-2</c:v>
                </c:pt>
                <c:pt idx="2">
                  <c:v>1.3625819773384115E-3</c:v>
                </c:pt>
                <c:pt idx="3">
                  <c:v>0.12608331685803781</c:v>
                </c:pt>
                <c:pt idx="4">
                  <c:v>1.1732619958943502E-2</c:v>
                </c:pt>
                <c:pt idx="5">
                  <c:v>6.2114905007134369E-3</c:v>
                </c:pt>
                <c:pt idx="6">
                  <c:v>2.029408133441467E-3</c:v>
                </c:pt>
                <c:pt idx="7">
                  <c:v>3.6855776457379794E-2</c:v>
                </c:pt>
                <c:pt idx="8">
                  <c:v>4.412497174304146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1.4569840425069714E-6</c:v>
                </c:pt>
                <c:pt idx="6">
                  <c:v>5.9329440289473069E-6</c:v>
                </c:pt>
                <c:pt idx="7">
                  <c:v>4.9444538616075701E-2</c:v>
                </c:pt>
                <c:pt idx="8">
                  <c:v>8.8206601492313936E-6</c:v>
                </c:pt>
                <c:pt idx="9">
                  <c:v>8.959845441032614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7.4718342014114258E-4</c:v>
                </c:pt>
                <c:pt idx="1">
                  <c:v>1.7339094554510329E-2</c:v>
                </c:pt>
                <c:pt idx="2">
                  <c:v>3.0917818303169083E-2</c:v>
                </c:pt>
                <c:pt idx="4">
                  <c:v>1.9132431895118571E-4</c:v>
                </c:pt>
                <c:pt idx="5">
                  <c:v>3.7265307107165531E-2</c:v>
                </c:pt>
                <c:pt idx="6">
                  <c:v>2.8448033461384293E-2</c:v>
                </c:pt>
                <c:pt idx="7">
                  <c:v>4.4328122572103452E-2</c:v>
                </c:pt>
                <c:pt idx="8">
                  <c:v>5.598903528938735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3">
                  <c:v>6.5629911824638341E-7</c:v>
                </c:pt>
                <c:pt idx="4">
                  <c:v>8.6656554234839627E-3</c:v>
                </c:pt>
                <c:pt idx="5">
                  <c:v>4.3521307814078439E-2</c:v>
                </c:pt>
                <c:pt idx="6">
                  <c:v>5.1946337728848548E-3</c:v>
                </c:pt>
                <c:pt idx="7">
                  <c:v>1.5923785506012002E-3</c:v>
                </c:pt>
                <c:pt idx="8">
                  <c:v>3.714318296724224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4769469987927959E-2</c:v>
                </c:pt>
                <c:pt idx="2">
                  <c:v>2.3174585769354574E-3</c:v>
                </c:pt>
                <c:pt idx="3">
                  <c:v>5.4889164840494477E-2</c:v>
                </c:pt>
                <c:pt idx="4">
                  <c:v>2.1417116059667604E-2</c:v>
                </c:pt>
                <c:pt idx="5">
                  <c:v>5.4954785824171529E-2</c:v>
                </c:pt>
                <c:pt idx="6">
                  <c:v>0.14927955263464024</c:v>
                </c:pt>
                <c:pt idx="7">
                  <c:v>0.13229106377391028</c:v>
                </c:pt>
                <c:pt idx="8">
                  <c:v>0.31299472077907148</c:v>
                </c:pt>
                <c:pt idx="9">
                  <c:v>0.14351243301228028</c:v>
                </c:pt>
                <c:pt idx="10">
                  <c:v>0.1132490185854586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6">
                  <c:v>6.7580397135302726E-3</c:v>
                </c:pt>
                <c:pt idx="7">
                  <c:v>7.6792604187640604E-4</c:v>
                </c:pt>
                <c:pt idx="8">
                  <c:v>2.2935276614910325E-2</c:v>
                </c:pt>
                <c:pt idx="9">
                  <c:v>7.3021828060718733E-2</c:v>
                </c:pt>
                <c:pt idx="10">
                  <c:v>0.1054636419101056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t More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1.1985028367831106E-2</c:v>
                </c:pt>
                <c:pt idx="2">
                  <c:v>1.2722744909185247E-3</c:v>
                </c:pt>
                <c:pt idx="3">
                  <c:v>4.1117522494445613E-2</c:v>
                </c:pt>
                <c:pt idx="4">
                  <c:v>1.9643777086309891E-2</c:v>
                </c:pt>
                <c:pt idx="5">
                  <c:v>3.684323873362097E-2</c:v>
                </c:pt>
                <c:pt idx="6">
                  <c:v>5.2782584795062273E-2</c:v>
                </c:pt>
                <c:pt idx="7">
                  <c:v>1.9658859394885812E-2</c:v>
                </c:pt>
                <c:pt idx="8">
                  <c:v>9.889493820638589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2.5624963455585768E-4</c:v>
                </c:pt>
                <c:pt idx="5">
                  <c:v>8.625546990269144E-3</c:v>
                </c:pt>
                <c:pt idx="6">
                  <c:v>1.1454780717940091E-2</c:v>
                </c:pt>
                <c:pt idx="7">
                  <c:v>2.2883222378001097E-2</c:v>
                </c:pt>
                <c:pt idx="8">
                  <c:v>5.329542368167689E-2</c:v>
                </c:pt>
                <c:pt idx="9">
                  <c:v>7.2519363217122216E-3</c:v>
                </c:pt>
                <c:pt idx="10">
                  <c:v>8.0130730057553258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2.7844416200968536E-3</c:v>
                </c:pt>
                <c:pt idx="2">
                  <c:v>1.0451840860169327E-3</c:v>
                </c:pt>
                <c:pt idx="3">
                  <c:v>1.3771642346048864E-2</c:v>
                </c:pt>
                <c:pt idx="4">
                  <c:v>1.5170893388018554E-3</c:v>
                </c:pt>
                <c:pt idx="5">
                  <c:v>9.4860001002814182E-3</c:v>
                </c:pt>
                <c:pt idx="6">
                  <c:v>7.8284147408107588E-2</c:v>
                </c:pt>
                <c:pt idx="7">
                  <c:v>8.8981055959146987E-2</c:v>
                </c:pt>
                <c:pt idx="8">
                  <c:v>0.13786908227609831</c:v>
                </c:pt>
                <c:pt idx="9">
                  <c:v>6.3238668629849323E-2</c:v>
                </c:pt>
                <c:pt idx="10">
                  <c:v>6.984069374777432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0921024996954196E-3</c:v>
                </c:pt>
                <c:pt idx="1">
                  <c:v>2.2013794513369753E-2</c:v>
                </c:pt>
                <c:pt idx="2">
                  <c:v>6.0164729451450899E-3</c:v>
                </c:pt>
                <c:pt idx="3">
                  <c:v>5.9948371208162959E-2</c:v>
                </c:pt>
                <c:pt idx="4">
                  <c:v>2.3502461461467138E-2</c:v>
                </c:pt>
                <c:pt idx="5">
                  <c:v>7.9254515665220515E-2</c:v>
                </c:pt>
                <c:pt idx="6">
                  <c:v>0.10057809753875296</c:v>
                </c:pt>
                <c:pt idx="7">
                  <c:v>0.25267661121730911</c:v>
                </c:pt>
                <c:pt idx="8">
                  <c:v>0.2504997063205352</c:v>
                </c:pt>
                <c:pt idx="9">
                  <c:v>0.15719468225499189</c:v>
                </c:pt>
                <c:pt idx="10">
                  <c:v>4.722318437535000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6.2277224760438732E-8</c:v>
                </c:pt>
                <c:pt idx="1">
                  <c:v>1.7636380033222116E-6</c:v>
                </c:pt>
                <c:pt idx="2">
                  <c:v>3.8848811065502098E-3</c:v>
                </c:pt>
                <c:pt idx="3">
                  <c:v>4.5041711297573537E-3</c:v>
                </c:pt>
                <c:pt idx="4">
                  <c:v>8.0022391179891315E-4</c:v>
                </c:pt>
                <c:pt idx="5">
                  <c:v>3.2043831717822372E-3</c:v>
                </c:pt>
                <c:pt idx="6">
                  <c:v>2.846086397167409E-3</c:v>
                </c:pt>
                <c:pt idx="7">
                  <c:v>7.7798020967602037E-3</c:v>
                </c:pt>
                <c:pt idx="8">
                  <c:v>7.211375340566979E-3</c:v>
                </c:pt>
                <c:pt idx="9">
                  <c:v>4.3726562065839961E-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5391047572087941E-3</c:v>
                </c:pt>
                <c:pt idx="1">
                  <c:v>2.1760974128159269E-3</c:v>
                </c:pt>
                <c:pt idx="2">
                  <c:v>4.6734883283602981E-3</c:v>
                </c:pt>
                <c:pt idx="3">
                  <c:v>7.4046321693773025E-3</c:v>
                </c:pt>
                <c:pt idx="4">
                  <c:v>1.024889265131663E-2</c:v>
                </c:pt>
                <c:pt idx="5">
                  <c:v>3.3528355125194316E-2</c:v>
                </c:pt>
                <c:pt idx="6">
                  <c:v>3.4686229188508416E-2</c:v>
                </c:pt>
                <c:pt idx="7">
                  <c:v>5.1855161672868022E-2</c:v>
                </c:pt>
                <c:pt idx="8">
                  <c:v>8.3091045777973854E-2</c:v>
                </c:pt>
                <c:pt idx="9">
                  <c:v>0.10231532411148089</c:v>
                </c:pt>
                <c:pt idx="10">
                  <c:v>1.748888636423203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4.3726562065839961E-8</c:v>
                </c:pt>
                <c:pt idx="1">
                  <c:v>2.3666272942101448E-4</c:v>
                </c:pt>
                <c:pt idx="2">
                  <c:v>1.1425048392716256E-3</c:v>
                </c:pt>
                <c:pt idx="3">
                  <c:v>5.9962499570353405E-4</c:v>
                </c:pt>
                <c:pt idx="4">
                  <c:v>5.4016415905433594E-3</c:v>
                </c:pt>
                <c:pt idx="5">
                  <c:v>2.2037382977450795E-2</c:v>
                </c:pt>
                <c:pt idx="6">
                  <c:v>8.5982374591358716E-3</c:v>
                </c:pt>
                <c:pt idx="7">
                  <c:v>3.8348711700202424E-3</c:v>
                </c:pt>
                <c:pt idx="8">
                  <c:v>1.2438550598562307E-3</c:v>
                </c:pt>
                <c:pt idx="9">
                  <c:v>6.6649880967022722E-7</c:v>
                </c:pt>
                <c:pt idx="10">
                  <c:v>8.0390621834379105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Vache Qui Ri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7415229367946326E-6</c:v>
                </c:pt>
                <c:pt idx="1">
                  <c:v>6.426479576343146E-7</c:v>
                </c:pt>
                <c:pt idx="2">
                  <c:v>4.4561341887096903E-6</c:v>
                </c:pt>
                <c:pt idx="3">
                  <c:v>1.687721138806102E-2</c:v>
                </c:pt>
                <c:pt idx="4">
                  <c:v>4.1377809660183397E-3</c:v>
                </c:pt>
                <c:pt idx="5">
                  <c:v>5.7693051247716251E-3</c:v>
                </c:pt>
                <c:pt idx="6">
                  <c:v>2.8979991016709087E-3</c:v>
                </c:pt>
                <c:pt idx="7">
                  <c:v>6.704058442431768E-3</c:v>
                </c:pt>
                <c:pt idx="8">
                  <c:v>2.0856655822744283E-3</c:v>
                </c:pt>
                <c:pt idx="9">
                  <c:v>1.8707747056201961E-3</c:v>
                </c:pt>
                <c:pt idx="10">
                  <c:v>2.1420715222920265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444787331360232E-2</c:v>
                </c:pt>
                <c:pt idx="1">
                  <c:v>2.0024846757613145E-2</c:v>
                </c:pt>
                <c:pt idx="2">
                  <c:v>1.5602969017663703E-2</c:v>
                </c:pt>
                <c:pt idx="3">
                  <c:v>2.4376710321411168E-2</c:v>
                </c:pt>
                <c:pt idx="4">
                  <c:v>3.9891229779347018E-2</c:v>
                </c:pt>
                <c:pt idx="5">
                  <c:v>5.4521440471678687E-2</c:v>
                </c:pt>
                <c:pt idx="6">
                  <c:v>8.4862000692681752E-2</c:v>
                </c:pt>
                <c:pt idx="7">
                  <c:v>0.11918993708171734</c:v>
                </c:pt>
                <c:pt idx="8">
                  <c:v>0.11432178604932393</c:v>
                </c:pt>
                <c:pt idx="9">
                  <c:v>3.2849354493915267E-2</c:v>
                </c:pt>
                <c:pt idx="10">
                  <c:v>9.199341207665632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7.1482032968675183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6">
                  <c:v>8.0028603535492416E-4</c:v>
                </c:pt>
                <c:pt idx="7">
                  <c:v>1.0742766677238561E-2</c:v>
                </c:pt>
                <c:pt idx="8">
                  <c:v>2.1433128089056962E-2</c:v>
                </c:pt>
                <c:pt idx="9">
                  <c:v>7.791538913009359E-2</c:v>
                </c:pt>
                <c:pt idx="10">
                  <c:v>3.967011577900203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t More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4725635203864748E-4</c:v>
                </c:pt>
                <c:pt idx="1">
                  <c:v>1.4215372774110923E-2</c:v>
                </c:pt>
                <c:pt idx="2">
                  <c:v>4.8549256504206023E-3</c:v>
                </c:pt>
                <c:pt idx="3">
                  <c:v>4.262140340943385E-2</c:v>
                </c:pt>
                <c:pt idx="4">
                  <c:v>1.8334792981554462E-2</c:v>
                </c:pt>
                <c:pt idx="5">
                  <c:v>2.6101512439191687E-2</c:v>
                </c:pt>
                <c:pt idx="6">
                  <c:v>4.2468163801257251E-2</c:v>
                </c:pt>
                <c:pt idx="7">
                  <c:v>6.5960171015402719E-2</c:v>
                </c:pt>
                <c:pt idx="8">
                  <c:v>6.180255259659155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Tartar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3.8421592720662911E-7</c:v>
                </c:pt>
                <c:pt idx="3">
                  <c:v>3.9207895083318342E-5</c:v>
                </c:pt>
                <c:pt idx="4">
                  <c:v>3.5994509643752759E-3</c:v>
                </c:pt>
                <c:pt idx="5">
                  <c:v>6.7906948442288109E-3</c:v>
                </c:pt>
                <c:pt idx="6">
                  <c:v>6.4855648512478995E-4</c:v>
                </c:pt>
                <c:pt idx="7">
                  <c:v>4.5601069406954228E-2</c:v>
                </c:pt>
                <c:pt idx="8">
                  <c:v>3.610527105383772E-2</c:v>
                </c:pt>
                <c:pt idx="9">
                  <c:v>1.5523163373035199E-2</c:v>
                </c:pt>
                <c:pt idx="10">
                  <c:v>3.788842610725780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8.4413132732708528E-4</c:v>
                </c:pt>
                <c:pt idx="1">
                  <c:v>7.7984217392588302E-3</c:v>
                </c:pt>
                <c:pt idx="2">
                  <c:v>1.1611630787972808E-3</c:v>
                </c:pt>
                <c:pt idx="3">
                  <c:v>1.7287759903645793E-2</c:v>
                </c:pt>
                <c:pt idx="4">
                  <c:v>1.5682175155374016E-3</c:v>
                </c:pt>
                <c:pt idx="5">
                  <c:v>4.6362308381800013E-2</c:v>
                </c:pt>
                <c:pt idx="6">
                  <c:v>5.6661091217016013E-2</c:v>
                </c:pt>
                <c:pt idx="7">
                  <c:v>0.13037260411771356</c:v>
                </c:pt>
                <c:pt idx="8">
                  <c:v>0.13115875458104895</c:v>
                </c:pt>
                <c:pt idx="9">
                  <c:v>6.375612975186308E-2</c:v>
                </c:pt>
                <c:pt idx="10">
                  <c:v>3.764225985622193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4.4185496993801796E-3</c:v>
                </c:pt>
                <c:pt idx="2">
                  <c:v>5.8867511383563073E-3</c:v>
                </c:pt>
                <c:pt idx="3">
                  <c:v>7.5681685289260239E-2</c:v>
                </c:pt>
                <c:pt idx="4">
                  <c:v>2.5426936831280101E-2</c:v>
                </c:pt>
                <c:pt idx="5">
                  <c:v>9.4771840334443316E-2</c:v>
                </c:pt>
                <c:pt idx="6">
                  <c:v>0.12889598069765412</c:v>
                </c:pt>
                <c:pt idx="7">
                  <c:v>0.13425471229470909</c:v>
                </c:pt>
                <c:pt idx="8">
                  <c:v>0.32909591222530005</c:v>
                </c:pt>
                <c:pt idx="9">
                  <c:v>0.10836522028352404</c:v>
                </c:pt>
                <c:pt idx="10">
                  <c:v>9.281769757231099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4.4173814446993118E-3</c:v>
                </c:pt>
                <c:pt idx="2">
                  <c:v>5.2218879271393025E-3</c:v>
                </c:pt>
                <c:pt idx="3">
                  <c:v>6.777826345130282E-2</c:v>
                </c:pt>
                <c:pt idx="4">
                  <c:v>2.2669203245781977E-2</c:v>
                </c:pt>
                <c:pt idx="5">
                  <c:v>6.7392423662108167E-2</c:v>
                </c:pt>
                <c:pt idx="6">
                  <c:v>1.8633009621187736E-2</c:v>
                </c:pt>
                <c:pt idx="7">
                  <c:v>3.2488299639938642E-2</c:v>
                </c:pt>
                <c:pt idx="8">
                  <c:v>9.942664059978237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8">
                  <c:v>2.4685547676057795E-2</c:v>
                </c:pt>
                <c:pt idx="9">
                  <c:v>4.175203301837152E-2</c:v>
                </c:pt>
                <c:pt idx="10">
                  <c:v>8.597560879987943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8615243730184993E-4</c:v>
                </c:pt>
                <c:pt idx="5">
                  <c:v>1.896502549652692E-2</c:v>
                </c:pt>
                <c:pt idx="6">
                  <c:v>1.726077346311387E-2</c:v>
                </c:pt>
                <c:pt idx="7">
                  <c:v>1.6311361300978516E-2</c:v>
                </c:pt>
                <c:pt idx="8">
                  <c:v>8.2465150831309508E-2</c:v>
                </c:pt>
                <c:pt idx="9">
                  <c:v>1.140012387078055E-2</c:v>
                </c:pt>
                <c:pt idx="10">
                  <c:v>8.3803854922597388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1.1682546808676057E-6</c:v>
                </c:pt>
                <c:pt idx="2">
                  <c:v>6.6486321121700463E-4</c:v>
                </c:pt>
                <c:pt idx="3">
                  <c:v>7.9034218379574143E-3</c:v>
                </c:pt>
                <c:pt idx="4">
                  <c:v>2.5715811481962741E-3</c:v>
                </c:pt>
                <c:pt idx="5">
                  <c:v>8.4143911758082363E-3</c:v>
                </c:pt>
                <c:pt idx="6">
                  <c:v>9.3002197613352516E-2</c:v>
                </c:pt>
                <c:pt idx="7">
                  <c:v>8.5455051353791944E-2</c:v>
                </c:pt>
                <c:pt idx="8">
                  <c:v>0.12251857311815037</c:v>
                </c:pt>
                <c:pt idx="9">
                  <c:v>5.5213063394371972E-2</c:v>
                </c:pt>
                <c:pt idx="10">
                  <c:v>6.004050223205581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184151077648034E-3</c:v>
                </c:pt>
                <c:pt idx="1">
                  <c:v>1.2433173216472356E-2</c:v>
                </c:pt>
                <c:pt idx="2">
                  <c:v>1.6653419563341498E-2</c:v>
                </c:pt>
                <c:pt idx="3">
                  <c:v>4.528856379315839E-2</c:v>
                </c:pt>
                <c:pt idx="4">
                  <c:v>6.0469880502980883E-2</c:v>
                </c:pt>
                <c:pt idx="5">
                  <c:v>6.8046692315063301E-2</c:v>
                </c:pt>
                <c:pt idx="6">
                  <c:v>0.10564996279910281</c:v>
                </c:pt>
                <c:pt idx="7">
                  <c:v>0.20914003576282764</c:v>
                </c:pt>
                <c:pt idx="8">
                  <c:v>0.18189208301942125</c:v>
                </c:pt>
                <c:pt idx="9">
                  <c:v>5.0891551137366327E-2</c:v>
                </c:pt>
                <c:pt idx="10">
                  <c:v>0.2431162227825007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0406870450386077E-4</c:v>
                </c:pt>
                <c:pt idx="1">
                  <c:v>5.648341745034556E-3</c:v>
                </c:pt>
                <c:pt idx="2">
                  <c:v>1.9483797523056189E-4</c:v>
                </c:pt>
                <c:pt idx="3">
                  <c:v>2.2247713587432619E-2</c:v>
                </c:pt>
                <c:pt idx="4">
                  <c:v>4.1343411473230188E-2</c:v>
                </c:pt>
                <c:pt idx="5">
                  <c:v>4.3725880508402653E-3</c:v>
                </c:pt>
                <c:pt idx="6">
                  <c:v>4.1440990923866085E-2</c:v>
                </c:pt>
                <c:pt idx="7">
                  <c:v>0.11830612581192236</c:v>
                </c:pt>
                <c:pt idx="8">
                  <c:v>0.13338433747979911</c:v>
                </c:pt>
                <c:pt idx="9">
                  <c:v>4.5186169508003936E-2</c:v>
                </c:pt>
                <c:pt idx="10">
                  <c:v>0.1990006993601412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0373462332664182E-6</c:v>
                </c:pt>
                <c:pt idx="1">
                  <c:v>3.0774919553610828E-5</c:v>
                </c:pt>
                <c:pt idx="4">
                  <c:v>2.0936176639641302E-4</c:v>
                </c:pt>
                <c:pt idx="5">
                  <c:v>1.1954430850568996E-2</c:v>
                </c:pt>
                <c:pt idx="6">
                  <c:v>1.5789455511649245E-2</c:v>
                </c:pt>
                <c:pt idx="7">
                  <c:v>3.608920183112923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4.4770126651555495E-5</c:v>
                </c:pt>
                <c:pt idx="1">
                  <c:v>1.6185829377370841E-3</c:v>
                </c:pt>
                <c:pt idx="2">
                  <c:v>6.2229069634481455E-4</c:v>
                </c:pt>
                <c:pt idx="3">
                  <c:v>1.6948547870356218E-3</c:v>
                </c:pt>
                <c:pt idx="4">
                  <c:v>9.7695163351760855E-3</c:v>
                </c:pt>
                <c:pt idx="5">
                  <c:v>3.5471246468041374E-2</c:v>
                </c:pt>
                <c:pt idx="6">
                  <c:v>1.2537394892261569E-2</c:v>
                </c:pt>
                <c:pt idx="7">
                  <c:v>1.3691035283868136E-2</c:v>
                </c:pt>
                <c:pt idx="8">
                  <c:v>1.4685893740976209E-2</c:v>
                </c:pt>
                <c:pt idx="9">
                  <c:v>1.3849072481170953E-3</c:v>
                </c:pt>
                <c:pt idx="10">
                  <c:v>2.932237903010498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5.7685389303761209E-3</c:v>
                </c:pt>
                <c:pt idx="1">
                  <c:v>5.1354736141471053E-3</c:v>
                </c:pt>
                <c:pt idx="2">
                  <c:v>1.5836290891766119E-2</c:v>
                </c:pt>
                <c:pt idx="3">
                  <c:v>2.1345995418690148E-2</c:v>
                </c:pt>
                <c:pt idx="4">
                  <c:v>9.1475909281781998E-3</c:v>
                </c:pt>
                <c:pt idx="5">
                  <c:v>1.6248426945612661E-2</c:v>
                </c:pt>
                <c:pt idx="6">
                  <c:v>3.5882121471325912E-2</c:v>
                </c:pt>
                <c:pt idx="7">
                  <c:v>4.1053672835907877E-2</c:v>
                </c:pt>
                <c:pt idx="8">
                  <c:v>3.3821851798645948E-2</c:v>
                </c:pt>
                <c:pt idx="9">
                  <c:v>4.3204743812452952E-3</c:v>
                </c:pt>
                <c:pt idx="10">
                  <c:v>1.479314439225454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2664777716174217E-2</c:v>
                </c:pt>
                <c:pt idx="1">
                  <c:v>1.455215005945285E-2</c:v>
                </c:pt>
                <c:pt idx="2">
                  <c:v>3.1793157987583059E-2</c:v>
                </c:pt>
                <c:pt idx="3">
                  <c:v>4.8197250418922831E-2</c:v>
                </c:pt>
                <c:pt idx="4">
                  <c:v>3.6172401739128751E-2</c:v>
                </c:pt>
                <c:pt idx="5">
                  <c:v>0.10756737889583758</c:v>
                </c:pt>
                <c:pt idx="6">
                  <c:v>0.1437797360274827</c:v>
                </c:pt>
                <c:pt idx="7">
                  <c:v>0.16541094068946494</c:v>
                </c:pt>
                <c:pt idx="8">
                  <c:v>0.17248314445239338</c:v>
                </c:pt>
                <c:pt idx="9">
                  <c:v>0.20438488641867086</c:v>
                </c:pt>
                <c:pt idx="10">
                  <c:v>6.299417559488881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8193811307894463E-4</c:v>
                </c:pt>
                <c:pt idx="1">
                  <c:v>6.0173469111435029E-5</c:v>
                </c:pt>
                <c:pt idx="2">
                  <c:v>8.963845470016352E-3</c:v>
                </c:pt>
                <c:pt idx="3">
                  <c:v>2.3701830432512266E-2</c:v>
                </c:pt>
                <c:pt idx="4">
                  <c:v>1.3538136962298842E-2</c:v>
                </c:pt>
                <c:pt idx="5">
                  <c:v>5.2050714440147451E-2</c:v>
                </c:pt>
                <c:pt idx="6">
                  <c:v>6.6835411572889747E-2</c:v>
                </c:pt>
                <c:pt idx="7">
                  <c:v>7.8245022457428454E-2</c:v>
                </c:pt>
                <c:pt idx="8">
                  <c:v>0.12333337649728078</c:v>
                </c:pt>
                <c:pt idx="9">
                  <c:v>0.18253935133240679</c:v>
                </c:pt>
                <c:pt idx="10">
                  <c:v>3.198088980502364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8323074475378015E-6</c:v>
                </c:pt>
                <c:pt idx="3">
                  <c:v>8.0997722208184354E-7</c:v>
                </c:pt>
                <c:pt idx="4">
                  <c:v>3.4743737786523303E-3</c:v>
                </c:pt>
                <c:pt idx="5">
                  <c:v>1.0002058596302368E-2</c:v>
                </c:pt>
                <c:pt idx="6">
                  <c:v>2.3991525318064207E-2</c:v>
                </c:pt>
                <c:pt idx="7">
                  <c:v>3.013339969502842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7244676341097316E-7</c:v>
                </c:pt>
                <c:pt idx="1">
                  <c:v>6.8490106201391507E-4</c:v>
                </c:pt>
                <c:pt idx="2">
                  <c:v>5.0108326353681221E-4</c:v>
                </c:pt>
                <c:pt idx="3">
                  <c:v>3.149750585020419E-3</c:v>
                </c:pt>
                <c:pt idx="4">
                  <c:v>8.9383965082644908E-3</c:v>
                </c:pt>
                <c:pt idx="5">
                  <c:v>2.4433093545586246E-2</c:v>
                </c:pt>
                <c:pt idx="6">
                  <c:v>1.1380854080325055E-2</c:v>
                </c:pt>
                <c:pt idx="7">
                  <c:v>1.5430902186178689E-2</c:v>
                </c:pt>
                <c:pt idx="8">
                  <c:v>6.3719131336949552E-3</c:v>
                </c:pt>
                <c:pt idx="9">
                  <c:v>1.3821451317604578E-2</c:v>
                </c:pt>
                <c:pt idx="10">
                  <c:v>1.774418145546594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1979834848884326E-2</c:v>
                </c:pt>
                <c:pt idx="1">
                  <c:v>1.38070755283275E-2</c:v>
                </c:pt>
                <c:pt idx="2">
                  <c:v>2.2328229254029896E-2</c:v>
                </c:pt>
                <c:pt idx="3">
                  <c:v>2.1344859424168066E-2</c:v>
                </c:pt>
                <c:pt idx="4">
                  <c:v>1.0221494489913082E-2</c:v>
                </c:pt>
                <c:pt idx="5">
                  <c:v>2.1081512313801523E-2</c:v>
                </c:pt>
                <c:pt idx="6">
                  <c:v>4.1571945056203694E-2</c:v>
                </c:pt>
                <c:pt idx="7">
                  <c:v>4.1601616350829373E-2</c:v>
                </c:pt>
                <c:pt idx="8">
                  <c:v>4.2777854821417632E-2</c:v>
                </c:pt>
                <c:pt idx="9">
                  <c:v>8.0240837686595106E-3</c:v>
                </c:pt>
                <c:pt idx="10">
                  <c:v>1.326910433439923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3E-3</c:v>
                </c:pt>
                <c:pt idx="1">
                  <c:v>7.6799999999999993E-2</c:v>
                </c:pt>
                <c:pt idx="2">
                  <c:v>0.13689999999999999</c:v>
                </c:pt>
                <c:pt idx="4">
                  <c:v>8.0000000000000004E-4</c:v>
                </c:pt>
                <c:pt idx="5">
                  <c:v>0.16589999999999999</c:v>
                </c:pt>
                <c:pt idx="6">
                  <c:v>0.12740000000000001</c:v>
                </c:pt>
                <c:pt idx="7">
                  <c:v>0.2137</c:v>
                </c:pt>
                <c:pt idx="8">
                  <c:v>0.2750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233788397141476E-3</c:v>
                </c:pt>
                <c:pt idx="1">
                  <c:v>3.9175222582530523E-3</c:v>
                </c:pt>
                <c:pt idx="2">
                  <c:v>2.0573970079543279E-2</c:v>
                </c:pt>
                <c:pt idx="3">
                  <c:v>9.2174349105215783E-2</c:v>
                </c:pt>
                <c:pt idx="4">
                  <c:v>2.406388014634632E-2</c:v>
                </c:pt>
                <c:pt idx="5">
                  <c:v>8.1603425497824303E-2</c:v>
                </c:pt>
                <c:pt idx="6">
                  <c:v>0.1229698551242565</c:v>
                </c:pt>
                <c:pt idx="7">
                  <c:v>0.20932020763186437</c:v>
                </c:pt>
                <c:pt idx="8">
                  <c:v>0.14848773889644468</c:v>
                </c:pt>
                <c:pt idx="9">
                  <c:v>0.13344545786542822</c:v>
                </c:pt>
                <c:pt idx="10">
                  <c:v>0.1593202145551093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1.3363654757254455E-3</c:v>
                </c:pt>
                <c:pt idx="3">
                  <c:v>8.7012190295048905E-2</c:v>
                </c:pt>
                <c:pt idx="4">
                  <c:v>1.268574689640904E-3</c:v>
                </c:pt>
                <c:pt idx="5">
                  <c:v>1.0192482745461189E-3</c:v>
                </c:pt>
                <c:pt idx="6">
                  <c:v>3.1913976611991468E-2</c:v>
                </c:pt>
                <c:pt idx="7">
                  <c:v>0.11080357151802092</c:v>
                </c:pt>
                <c:pt idx="8">
                  <c:v>9.8545501973014871E-2</c:v>
                </c:pt>
                <c:pt idx="9">
                  <c:v>0.12773422056645714</c:v>
                </c:pt>
                <c:pt idx="10">
                  <c:v>0.1122901225403777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1388330782579099E-4</c:v>
                </c:pt>
                <c:pt idx="1">
                  <c:v>1.182099287038528E-3</c:v>
                </c:pt>
                <c:pt idx="2">
                  <c:v>3.7134657204931074E-4</c:v>
                </c:pt>
                <c:pt idx="3">
                  <c:v>3.8658096905670306E-3</c:v>
                </c:pt>
                <c:pt idx="4">
                  <c:v>1.8925822373788977E-2</c:v>
                </c:pt>
                <c:pt idx="5">
                  <c:v>5.1330828101471021E-2</c:v>
                </c:pt>
                <c:pt idx="6">
                  <c:v>2.4754917737717784E-2</c:v>
                </c:pt>
                <c:pt idx="7">
                  <c:v>2.6714253088929971E-2</c:v>
                </c:pt>
                <c:pt idx="8">
                  <c:v>2.276403682426777E-2</c:v>
                </c:pt>
                <c:pt idx="9">
                  <c:v>2.986582009986952E-3</c:v>
                </c:pt>
                <c:pt idx="10">
                  <c:v>3.729245017607318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0368088818749992E-3</c:v>
                </c:pt>
                <c:pt idx="5">
                  <c:v>2.0182016672363141E-2</c:v>
                </c:pt>
                <c:pt idx="6">
                  <c:v>2.3140351842732023E-2</c:v>
                </c:pt>
                <c:pt idx="7">
                  <c:v>4.068290986463614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0094955318883563E-3</c:v>
                </c:pt>
                <c:pt idx="1">
                  <c:v>2.7354229712145237E-3</c:v>
                </c:pt>
                <c:pt idx="2">
                  <c:v>1.8866258031768522E-2</c:v>
                </c:pt>
                <c:pt idx="3">
                  <c:v>1.2963491195998476E-3</c:v>
                </c:pt>
                <c:pt idx="4">
                  <c:v>2.8326742010414403E-3</c:v>
                </c:pt>
                <c:pt idx="5">
                  <c:v>9.0713324494440008E-3</c:v>
                </c:pt>
                <c:pt idx="6">
                  <c:v>4.3160608931815218E-2</c:v>
                </c:pt>
                <c:pt idx="7">
                  <c:v>3.1119473160277349E-2</c:v>
                </c:pt>
                <c:pt idx="8">
                  <c:v>2.7178200099162046E-2</c:v>
                </c:pt>
                <c:pt idx="9">
                  <c:v>2.7246552889841065E-3</c:v>
                </c:pt>
                <c:pt idx="10">
                  <c:v>9.737641838658467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233413980241707E-2</c:v>
                </c:pt>
                <c:pt idx="1">
                  <c:v>1.8516038253045791E-2</c:v>
                </c:pt>
                <c:pt idx="2">
                  <c:v>1.0825272627964894E-2</c:v>
                </c:pt>
                <c:pt idx="3">
                  <c:v>1.3085022230190355E-2</c:v>
                </c:pt>
                <c:pt idx="4">
                  <c:v>2.27156576849857E-2</c:v>
                </c:pt>
                <c:pt idx="5">
                  <c:v>0.15241475836441309</c:v>
                </c:pt>
                <c:pt idx="6">
                  <c:v>0.13260461332691367</c:v>
                </c:pt>
                <c:pt idx="7">
                  <c:v>0.14706949062230559</c:v>
                </c:pt>
                <c:pt idx="8">
                  <c:v>0.27489550926231998</c:v>
                </c:pt>
                <c:pt idx="9">
                  <c:v>0.18418147748810215</c:v>
                </c:pt>
                <c:pt idx="10">
                  <c:v>2.13580203373416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0239547921764041E-4</c:v>
                </c:pt>
                <c:pt idx="1">
                  <c:v>2.6155826392256924E-4</c:v>
                </c:pt>
                <c:pt idx="2">
                  <c:v>1.6105252827636695E-4</c:v>
                </c:pt>
                <c:pt idx="3">
                  <c:v>2.96035532044395E-7</c:v>
                </c:pt>
                <c:pt idx="4">
                  <c:v>4.327278483194817E-3</c:v>
                </c:pt>
                <c:pt idx="5">
                  <c:v>2.6641117272685588E-2</c:v>
                </c:pt>
                <c:pt idx="6">
                  <c:v>4.6877816897776911E-2</c:v>
                </c:pt>
                <c:pt idx="7">
                  <c:v>2.922080602178018E-3</c:v>
                </c:pt>
                <c:pt idx="8">
                  <c:v>0.15826895383529171</c:v>
                </c:pt>
                <c:pt idx="9">
                  <c:v>0.12122166244086677</c:v>
                </c:pt>
                <c:pt idx="10">
                  <c:v>1.459674356348779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3018037082867506E-4</c:v>
                </c:pt>
                <c:pt idx="1">
                  <c:v>6.4300171947890249E-4</c:v>
                </c:pt>
                <c:pt idx="2">
                  <c:v>1.6497541720523774E-3</c:v>
                </c:pt>
                <c:pt idx="3">
                  <c:v>1.3439946254130326E-3</c:v>
                </c:pt>
                <c:pt idx="4">
                  <c:v>2.512854128313462E-3</c:v>
                </c:pt>
                <c:pt idx="5">
                  <c:v>9.0940978132389619E-2</c:v>
                </c:pt>
                <c:pt idx="6">
                  <c:v>4.0292258954914076E-2</c:v>
                </c:pt>
                <c:pt idx="7">
                  <c:v>1.3849474617336882E-2</c:v>
                </c:pt>
                <c:pt idx="8">
                  <c:v>5.5697814241133974E-3</c:v>
                </c:pt>
                <c:pt idx="10">
                  <c:v>3.8131718051300349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1.9245152862007006E-4</c:v>
                </c:pt>
                <c:pt idx="3">
                  <c:v>4.6965543766289862E-3</c:v>
                </c:pt>
                <c:pt idx="5">
                  <c:v>3.7292206440384962E-3</c:v>
                </c:pt>
                <c:pt idx="6">
                  <c:v>9.8584916622859332E-3</c:v>
                </c:pt>
                <c:pt idx="7">
                  <c:v>6.7705722895600715E-2</c:v>
                </c:pt>
                <c:pt idx="8">
                  <c:v>3.59828161943956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001563952370753E-2</c:v>
                </c:pt>
                <c:pt idx="1">
                  <c:v>1.7611478269644317E-2</c:v>
                </c:pt>
                <c:pt idx="2">
                  <c:v>8.8220143990160784E-3</c:v>
                </c:pt>
                <c:pt idx="3">
                  <c:v>7.0441771926162905E-3</c:v>
                </c:pt>
                <c:pt idx="4">
                  <c:v>1.587552507347742E-2</c:v>
                </c:pt>
                <c:pt idx="5">
                  <c:v>3.1103442315299382E-2</c:v>
                </c:pt>
                <c:pt idx="6">
                  <c:v>3.5576045811936782E-2</c:v>
                </c:pt>
                <c:pt idx="7">
                  <c:v>6.2592212507189965E-2</c:v>
                </c:pt>
                <c:pt idx="8">
                  <c:v>7.5073957808519234E-2</c:v>
                </c:pt>
                <c:pt idx="9">
                  <c:v>6.2959815047235385E-2</c:v>
                </c:pt>
                <c:pt idx="10">
                  <c:v>6.723145055802576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72656352017654E-2</c:v>
                </c:pt>
                <c:pt idx="1">
                  <c:v>2.3212152827471175E-2</c:v>
                </c:pt>
                <c:pt idx="2">
                  <c:v>9.5276320472047864E-3</c:v>
                </c:pt>
                <c:pt idx="3">
                  <c:v>2.0834565919059692E-2</c:v>
                </c:pt>
                <c:pt idx="4">
                  <c:v>5.6280952496327273E-2</c:v>
                </c:pt>
                <c:pt idx="5">
                  <c:v>0.14858554007140801</c:v>
                </c:pt>
                <c:pt idx="6">
                  <c:v>0.13431405689832426</c:v>
                </c:pt>
                <c:pt idx="7">
                  <c:v>0.17459164325638374</c:v>
                </c:pt>
                <c:pt idx="8">
                  <c:v>0.24859878263049723</c:v>
                </c:pt>
                <c:pt idx="9">
                  <c:v>0.15784269013818414</c:v>
                </c:pt>
                <c:pt idx="10">
                  <c:v>6.439327363122094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1072206953701329E-4</c:v>
                </c:pt>
                <c:pt idx="1">
                  <c:v>9.8258963677779861E-7</c:v>
                </c:pt>
                <c:pt idx="2">
                  <c:v>5.3737979969518241E-4</c:v>
                </c:pt>
                <c:pt idx="3">
                  <c:v>3.7915792159768625E-3</c:v>
                </c:pt>
                <c:pt idx="4">
                  <c:v>1.74384459394888E-2</c:v>
                </c:pt>
                <c:pt idx="5">
                  <c:v>2.398886702522296E-2</c:v>
                </c:pt>
                <c:pt idx="6">
                  <c:v>2.8077040668504298E-2</c:v>
                </c:pt>
                <c:pt idx="7">
                  <c:v>2.4364165355091935E-2</c:v>
                </c:pt>
                <c:pt idx="8">
                  <c:v>0.11227914318733516</c:v>
                </c:pt>
                <c:pt idx="9">
                  <c:v>0.10566720078983508</c:v>
                </c:pt>
                <c:pt idx="10">
                  <c:v>6.364166892615614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6800755447496039E-7</c:v>
                </c:pt>
                <c:pt idx="1">
                  <c:v>9.0931288733664395E-4</c:v>
                </c:pt>
                <c:pt idx="2">
                  <c:v>4.389767568115952E-3</c:v>
                </c:pt>
                <c:pt idx="3">
                  <c:v>2.3038977767911605E-3</c:v>
                </c:pt>
                <c:pt idx="4">
                  <c:v>2.0754355039642937E-2</c:v>
                </c:pt>
                <c:pt idx="5">
                  <c:v>8.4672717134605294E-2</c:v>
                </c:pt>
                <c:pt idx="6">
                  <c:v>3.3036414939946537E-2</c:v>
                </c:pt>
                <c:pt idx="7">
                  <c:v>1.4734461081836587E-2</c:v>
                </c:pt>
                <c:pt idx="8">
                  <c:v>4.7791785325608238E-3</c:v>
                </c:pt>
                <c:pt idx="9">
                  <c:v>2.5608424212395474E-6</c:v>
                </c:pt>
                <c:pt idx="10">
                  <c:v>3.0887934333320745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3.5823283524473069E-4</c:v>
                </c:pt>
                <c:pt idx="3">
                  <c:v>7.7176408426039098E-3</c:v>
                </c:pt>
                <c:pt idx="4">
                  <c:v>1.4611566101307161E-6</c:v>
                </c:pt>
                <c:pt idx="5">
                  <c:v>2.6771749248684216E-4</c:v>
                </c:pt>
                <c:pt idx="6">
                  <c:v>2.7288245200244362E-2</c:v>
                </c:pt>
                <c:pt idx="7">
                  <c:v>4.7237192388286393E-2</c:v>
                </c:pt>
                <c:pt idx="8">
                  <c:v>4.7206900117100756E-2</c:v>
                </c:pt>
                <c:pt idx="9">
                  <c:v>4.533505667676302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9661766274926166E-2</c:v>
                </c:pt>
                <c:pt idx="1">
                  <c:v>2.2301857350497754E-2</c:v>
                </c:pt>
                <c:pt idx="2">
                  <c:v>4.2422518441489225E-3</c:v>
                </c:pt>
                <c:pt idx="3">
                  <c:v>7.0214480836877603E-3</c:v>
                </c:pt>
                <c:pt idx="4">
                  <c:v>1.8086690360585401E-2</c:v>
                </c:pt>
                <c:pt idx="5">
                  <c:v>3.9656238419092903E-2</c:v>
                </c:pt>
                <c:pt idx="6">
                  <c:v>4.5912356089629056E-2</c:v>
                </c:pt>
                <c:pt idx="7">
                  <c:v>8.8255824431168806E-2</c:v>
                </c:pt>
                <c:pt idx="8">
                  <c:v>8.4333560793500503E-2</c:v>
                </c:pt>
                <c:pt idx="9">
                  <c:v>5.1719577939160176E-2</c:v>
                </c:pt>
                <c:pt idx="10">
                  <c:v>4.4272536173159256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52188913803921E-2</c:v>
                </c:pt>
                <c:pt idx="1">
                  <c:v>1.0611634200708155E-2</c:v>
                </c:pt>
                <c:pt idx="2">
                  <c:v>1.7191212706328902E-2</c:v>
                </c:pt>
                <c:pt idx="3">
                  <c:v>6.6578812746713373E-2</c:v>
                </c:pt>
                <c:pt idx="4">
                  <c:v>4.927328215654455E-2</c:v>
                </c:pt>
                <c:pt idx="5">
                  <c:v>0.11854085069659605</c:v>
                </c:pt>
                <c:pt idx="6">
                  <c:v>0.13211262069559299</c:v>
                </c:pt>
                <c:pt idx="7">
                  <c:v>0.17977269388689268</c:v>
                </c:pt>
                <c:pt idx="8">
                  <c:v>0.23087809969636761</c:v>
                </c:pt>
                <c:pt idx="9">
                  <c:v>0.10988083240827315</c:v>
                </c:pt>
                <c:pt idx="10">
                  <c:v>6.863807166794330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180570518301911E-2</c:v>
                </c:pt>
                <c:pt idx="1">
                  <c:v>7.1787501568152164E-3</c:v>
                </c:pt>
                <c:pt idx="2">
                  <c:v>7.4170086151862345E-3</c:v>
                </c:pt>
                <c:pt idx="3">
                  <c:v>1.2870735468148011E-2</c:v>
                </c:pt>
                <c:pt idx="4">
                  <c:v>6.6308669366560491E-2</c:v>
                </c:pt>
                <c:pt idx="5">
                  <c:v>0.16040717619239409</c:v>
                </c:pt>
                <c:pt idx="6">
                  <c:v>0.13239687151562307</c:v>
                </c:pt>
                <c:pt idx="7">
                  <c:v>0.17333995418547299</c:v>
                </c:pt>
                <c:pt idx="8">
                  <c:v>0.20746469137783644</c:v>
                </c:pt>
                <c:pt idx="9">
                  <c:v>0.13202397008973618</c:v>
                </c:pt>
                <c:pt idx="10">
                  <c:v>6.878646784920812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8336730136716521E-6</c:v>
                </c:pt>
                <c:pt idx="1">
                  <c:v>4.8682005239262548E-5</c:v>
                </c:pt>
                <c:pt idx="2">
                  <c:v>2.8813918186540743E-3</c:v>
                </c:pt>
                <c:pt idx="3">
                  <c:v>3.3094815121602729E-3</c:v>
                </c:pt>
                <c:pt idx="4">
                  <c:v>1.5610344208995217E-2</c:v>
                </c:pt>
                <c:pt idx="5">
                  <c:v>9.3941797251143294E-2</c:v>
                </c:pt>
                <c:pt idx="6">
                  <c:v>3.8529799961824956E-2</c:v>
                </c:pt>
                <c:pt idx="7">
                  <c:v>2.5987851347800527E-2</c:v>
                </c:pt>
                <c:pt idx="8">
                  <c:v>2.4451056016719266E-3</c:v>
                </c:pt>
                <c:pt idx="9">
                  <c:v>9.9924258903158255E-6</c:v>
                </c:pt>
                <c:pt idx="10">
                  <c:v>5.6549176369324639E-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5779084465603199E-4</c:v>
                </c:pt>
                <c:pt idx="1">
                  <c:v>9.5077186642930433E-7</c:v>
                </c:pt>
                <c:pt idx="2">
                  <c:v>2.3452372705256172E-5</c:v>
                </c:pt>
                <c:pt idx="3">
                  <c:v>2.4147741148742704E-4</c:v>
                </c:pt>
                <c:pt idx="4">
                  <c:v>2.5505033237120191E-2</c:v>
                </c:pt>
                <c:pt idx="5">
                  <c:v>5.2118020194195586E-3</c:v>
                </c:pt>
                <c:pt idx="6">
                  <c:v>4.7774440672096533E-2</c:v>
                </c:pt>
                <c:pt idx="7">
                  <c:v>1.0407614914575571E-2</c:v>
                </c:pt>
                <c:pt idx="8">
                  <c:v>8.0755051314214038E-2</c:v>
                </c:pt>
                <c:pt idx="9">
                  <c:v>5.3486659403018173E-2</c:v>
                </c:pt>
                <c:pt idx="10">
                  <c:v>6.878590235744443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4.8966056102102314E-3</c:v>
                </c:pt>
                <c:pt idx="1">
                  <c:v>6.8056063773153435E-3</c:v>
                </c:pt>
                <c:pt idx="3">
                  <c:v>6.5280120632940145E-5</c:v>
                </c:pt>
                <c:pt idx="4">
                  <c:v>1.1993396746461159E-4</c:v>
                </c:pt>
                <c:pt idx="5">
                  <c:v>1.5752040288069209E-2</c:v>
                </c:pt>
                <c:pt idx="6">
                  <c:v>1.5937875795687305E-2</c:v>
                </c:pt>
                <c:pt idx="7">
                  <c:v>5.3315421039937611E-2</c:v>
                </c:pt>
                <c:pt idx="8">
                  <c:v>1.3359245781636511E-2</c:v>
                </c:pt>
                <c:pt idx="9">
                  <c:v>6.982920980467764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6748475055139175E-2</c:v>
                </c:pt>
                <c:pt idx="1">
                  <c:v>3.2351100239418025E-4</c:v>
                </c:pt>
                <c:pt idx="2">
                  <c:v>4.5121644238269041E-3</c:v>
                </c:pt>
                <c:pt idx="3">
                  <c:v>9.2544964238673727E-3</c:v>
                </c:pt>
                <c:pt idx="4">
                  <c:v>2.5073357952980466E-2</c:v>
                </c:pt>
                <c:pt idx="5">
                  <c:v>4.5501536633762003E-2</c:v>
                </c:pt>
                <c:pt idx="6">
                  <c:v>3.0154755086014281E-2</c:v>
                </c:pt>
                <c:pt idx="7">
                  <c:v>8.3629066883159284E-2</c:v>
                </c:pt>
                <c:pt idx="8">
                  <c:v>0.11090528868031399</c:v>
                </c:pt>
                <c:pt idx="9">
                  <c:v>8.698108456150065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3951101757598065E-2</c:v>
                </c:pt>
                <c:pt idx="1">
                  <c:v>2.171650644987758E-2</c:v>
                </c:pt>
                <c:pt idx="2">
                  <c:v>4.1399587782975131E-2</c:v>
                </c:pt>
                <c:pt idx="3">
                  <c:v>2.1668009689674438E-2</c:v>
                </c:pt>
                <c:pt idx="4">
                  <c:v>5.2557201124251982E-2</c:v>
                </c:pt>
                <c:pt idx="5">
                  <c:v>6.3701696813513009E-2</c:v>
                </c:pt>
                <c:pt idx="6">
                  <c:v>0.13085829476746524</c:v>
                </c:pt>
                <c:pt idx="7">
                  <c:v>0.17790741654622319</c:v>
                </c:pt>
                <c:pt idx="8">
                  <c:v>0.38182493017031222</c:v>
                </c:pt>
                <c:pt idx="9">
                  <c:v>7.1585046101095867E-2</c:v>
                </c:pt>
                <c:pt idx="10">
                  <c:v>2.830208797013273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1623776833627002E-3</c:v>
                </c:pt>
                <c:pt idx="1">
                  <c:v>8.7656337149180381E-4</c:v>
                </c:pt>
                <c:pt idx="2">
                  <c:v>1.997401370399722E-2</c:v>
                </c:pt>
                <c:pt idx="3">
                  <c:v>1.6318094678739201E-3</c:v>
                </c:pt>
                <c:pt idx="4">
                  <c:v>6.8065736745573351E-3</c:v>
                </c:pt>
                <c:pt idx="5">
                  <c:v>4.2331941951958073E-2</c:v>
                </c:pt>
                <c:pt idx="6">
                  <c:v>1.0987943876921608E-2</c:v>
                </c:pt>
                <c:pt idx="7">
                  <c:v>0.10022590213000396</c:v>
                </c:pt>
                <c:pt idx="8">
                  <c:v>0.1956236050586164</c:v>
                </c:pt>
                <c:pt idx="9">
                  <c:v>6.9275193899495061E-2</c:v>
                </c:pt>
                <c:pt idx="10">
                  <c:v>2.573554570854617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5754374852480474E-4</c:v>
                </c:pt>
                <c:pt idx="2">
                  <c:v>8.0046715052893927E-4</c:v>
                </c:pt>
                <c:pt idx="3">
                  <c:v>2.5948633414850514E-7</c:v>
                </c:pt>
                <c:pt idx="4">
                  <c:v>3.273279241273426E-2</c:v>
                </c:pt>
                <c:pt idx="5">
                  <c:v>3.1311350987252953E-6</c:v>
                </c:pt>
                <c:pt idx="6">
                  <c:v>7.7690728652379942E-2</c:v>
                </c:pt>
                <c:pt idx="7">
                  <c:v>2.2557626459423118E-2</c:v>
                </c:pt>
                <c:pt idx="8">
                  <c:v>0.1138995715774357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2.1390953659405658E-3</c:v>
                </c:pt>
                <c:pt idx="4">
                  <c:v>1.0266638593046117E-4</c:v>
                </c:pt>
                <c:pt idx="6">
                  <c:v>2.2550160666894904E-2</c:v>
                </c:pt>
                <c:pt idx="7">
                  <c:v>2.6964534769534014E-3</c:v>
                </c:pt>
                <c:pt idx="8">
                  <c:v>4.87049399107866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243118032571056E-2</c:v>
                </c:pt>
                <c:pt idx="1">
                  <c:v>2.0839943078385777E-2</c:v>
                </c:pt>
                <c:pt idx="2">
                  <c:v>2.0625106928448968E-2</c:v>
                </c:pt>
                <c:pt idx="3">
                  <c:v>1.7896845369525804E-2</c:v>
                </c:pt>
                <c:pt idx="4">
                  <c:v>1.2915168651029919E-2</c:v>
                </c:pt>
                <c:pt idx="5">
                  <c:v>2.1366623726456209E-2</c:v>
                </c:pt>
                <c:pt idx="6">
                  <c:v>1.9629461571268787E-2</c:v>
                </c:pt>
                <c:pt idx="7">
                  <c:v>5.242743447984273E-2</c:v>
                </c:pt>
                <c:pt idx="8">
                  <c:v>2.3596813623473423E-2</c:v>
                </c:pt>
                <c:pt idx="9">
                  <c:v>2.3098522016008045E-3</c:v>
                </c:pt>
                <c:pt idx="10">
                  <c:v>2.566542261586557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6578369953938744E-2</c:v>
                </c:pt>
                <c:pt idx="1">
                  <c:v>3.9748049335277494E-2</c:v>
                </c:pt>
                <c:pt idx="2">
                  <c:v>3.6152583544337216E-2</c:v>
                </c:pt>
                <c:pt idx="3">
                  <c:v>2.5469849750860741E-2</c:v>
                </c:pt>
                <c:pt idx="4">
                  <c:v>6.4813880382745381E-2</c:v>
                </c:pt>
                <c:pt idx="5">
                  <c:v>8.5197700245182306E-2</c:v>
                </c:pt>
                <c:pt idx="6">
                  <c:v>0.17447621527054125</c:v>
                </c:pt>
                <c:pt idx="7">
                  <c:v>0.20259246306990597</c:v>
                </c:pt>
                <c:pt idx="8">
                  <c:v>0.20923515941614845</c:v>
                </c:pt>
                <c:pt idx="9">
                  <c:v>0.10072276476360653</c:v>
                </c:pt>
                <c:pt idx="10">
                  <c:v>5.012964267455894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7.2895615689523123E-3</c:v>
                </c:pt>
                <c:pt idx="1">
                  <c:v>1.2191397881004248E-2</c:v>
                </c:pt>
                <c:pt idx="2">
                  <c:v>1.0974375492565613E-2</c:v>
                </c:pt>
                <c:pt idx="3">
                  <c:v>2.2957743157416563E-3</c:v>
                </c:pt>
                <c:pt idx="4">
                  <c:v>1.2578924651319585E-2</c:v>
                </c:pt>
                <c:pt idx="5">
                  <c:v>5.5726885091712086E-2</c:v>
                </c:pt>
                <c:pt idx="6">
                  <c:v>3.0004173992332232E-2</c:v>
                </c:pt>
                <c:pt idx="7">
                  <c:v>0.1044620805993903</c:v>
                </c:pt>
                <c:pt idx="8">
                  <c:v>8.336121691648106E-2</c:v>
                </c:pt>
                <c:pt idx="9">
                  <c:v>9.0957371374645851E-2</c:v>
                </c:pt>
                <c:pt idx="10">
                  <c:v>4.17293774603411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6.7037277176314197E-5</c:v>
                </c:pt>
                <c:pt idx="2">
                  <c:v>2.1039368592767134E-5</c:v>
                </c:pt>
                <c:pt idx="3">
                  <c:v>1.2804621056102856E-5</c:v>
                </c:pt>
                <c:pt idx="4">
                  <c:v>3.2882094847373367E-2</c:v>
                </c:pt>
                <c:pt idx="5">
                  <c:v>1.6265488739259478E-2</c:v>
                </c:pt>
                <c:pt idx="6">
                  <c:v>7.8624434563229401E-2</c:v>
                </c:pt>
                <c:pt idx="7">
                  <c:v>5.0416138591354513E-2</c:v>
                </c:pt>
                <c:pt idx="8">
                  <c:v>7.905715147397755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5.2155196105875398E-3</c:v>
                </c:pt>
                <c:pt idx="4">
                  <c:v>1.9176191518417963E-3</c:v>
                </c:pt>
                <c:pt idx="5">
                  <c:v>2.2228582814683231E-5</c:v>
                </c:pt>
                <c:pt idx="6">
                  <c:v>2.1670370146516651E-2</c:v>
                </c:pt>
                <c:pt idx="7">
                  <c:v>3.1357634404897868E-3</c:v>
                </c:pt>
                <c:pt idx="8">
                  <c:v>3.452698005832101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9221771107810119E-2</c:v>
                </c:pt>
                <c:pt idx="1">
                  <c:v>2.7556651454273242E-2</c:v>
                </c:pt>
                <c:pt idx="2">
                  <c:v>2.515716868317883E-2</c:v>
                </c:pt>
                <c:pt idx="3">
                  <c:v>1.7945751203475444E-2</c:v>
                </c:pt>
                <c:pt idx="4">
                  <c:v>1.743524173221063E-2</c:v>
                </c:pt>
                <c:pt idx="5">
                  <c:v>1.3183097831396064E-2</c:v>
                </c:pt>
                <c:pt idx="6">
                  <c:v>4.417723656846298E-2</c:v>
                </c:pt>
                <c:pt idx="7">
                  <c:v>4.457848043867136E-2</c:v>
                </c:pt>
                <c:pt idx="8">
                  <c:v>1.228981096736885E-2</c:v>
                </c:pt>
                <c:pt idx="9">
                  <c:v>9.7653933889606855E-3</c:v>
                </c:pt>
                <c:pt idx="10">
                  <c:v>8.4002652142177578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150705379299439E-2</c:v>
                </c:pt>
                <c:pt idx="1">
                  <c:v>9.0902853088647602E-3</c:v>
                </c:pt>
                <c:pt idx="2">
                  <c:v>1.6253323699152004E-2</c:v>
                </c:pt>
                <c:pt idx="3">
                  <c:v>1.2374473445219698E-2</c:v>
                </c:pt>
                <c:pt idx="4">
                  <c:v>5.2044058253641889E-2</c:v>
                </c:pt>
                <c:pt idx="5">
                  <c:v>9.1526042103984434E-2</c:v>
                </c:pt>
                <c:pt idx="6">
                  <c:v>0.20203294286153259</c:v>
                </c:pt>
                <c:pt idx="7">
                  <c:v>0.15911147347283777</c:v>
                </c:pt>
                <c:pt idx="8">
                  <c:v>0.36684529217071971</c:v>
                </c:pt>
                <c:pt idx="9">
                  <c:v>7.921505489105275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9.8973843247858071E-5</c:v>
                </c:pt>
                <c:pt idx="1">
                  <c:v>2.2967811921920335E-3</c:v>
                </c:pt>
                <c:pt idx="2">
                  <c:v>4.0954539672809799E-3</c:v>
                </c:pt>
                <c:pt idx="4">
                  <c:v>2.5386780360866692E-5</c:v>
                </c:pt>
                <c:pt idx="5">
                  <c:v>4.9619949674433103E-3</c:v>
                </c:pt>
                <c:pt idx="6">
                  <c:v>3.8113466674709437E-3</c:v>
                </c:pt>
                <c:pt idx="7">
                  <c:v>6.3917691874754304E-3</c:v>
                </c:pt>
                <c:pt idx="8">
                  <c:v>8.22345642633344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4149108069524487E-5</c:v>
                </c:pt>
                <c:pt idx="1">
                  <c:v>2.1327781747590665E-4</c:v>
                </c:pt>
                <c:pt idx="2">
                  <c:v>2.8495578613399373E-3</c:v>
                </c:pt>
                <c:pt idx="3">
                  <c:v>1.9948897581279674E-2</c:v>
                </c:pt>
                <c:pt idx="4">
                  <c:v>8.8411875055026644E-3</c:v>
                </c:pt>
                <c:pt idx="5">
                  <c:v>1.5400350178303924E-2</c:v>
                </c:pt>
                <c:pt idx="6">
                  <c:v>2.5090493457164603E-2</c:v>
                </c:pt>
                <c:pt idx="7">
                  <c:v>5.3895054972498725E-2</c:v>
                </c:pt>
                <c:pt idx="8">
                  <c:v>7.1219179236332295E-2</c:v>
                </c:pt>
                <c:pt idx="9">
                  <c:v>7.5303100396673095E-2</c:v>
                </c:pt>
                <c:pt idx="10">
                  <c:v>5.741957327233792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9284787648484429E-7</c:v>
                </c:pt>
                <c:pt idx="1">
                  <c:v>1.3620987421890945E-5</c:v>
                </c:pt>
                <c:pt idx="2">
                  <c:v>8.0619936517678981E-4</c:v>
                </c:pt>
                <c:pt idx="3">
                  <c:v>9.2597677167495745E-4</c:v>
                </c:pt>
                <c:pt idx="4">
                  <c:v>4.3676981068689631E-3</c:v>
                </c:pt>
                <c:pt idx="5">
                  <c:v>2.6284456288494407E-2</c:v>
                </c:pt>
                <c:pt idx="6">
                  <c:v>1.0780449943847505E-2</c:v>
                </c:pt>
                <c:pt idx="7">
                  <c:v>7.2712739458988809E-3</c:v>
                </c:pt>
                <c:pt idx="8">
                  <c:v>6.8412861142186007E-4</c:v>
                </c:pt>
                <c:pt idx="9">
                  <c:v>2.7958319854991877E-6</c:v>
                </c:pt>
                <c:pt idx="10">
                  <c:v>1.58221835000265E-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3.5985382993955874E-4</c:v>
                </c:pt>
                <c:pt idx="4">
                  <c:v>7.2635871466402418E-3</c:v>
                </c:pt>
                <c:pt idx="5">
                  <c:v>2.5096938823564012E-4</c:v>
                </c:pt>
                <c:pt idx="6">
                  <c:v>2.1362992191333415E-2</c:v>
                </c:pt>
                <c:pt idx="7">
                  <c:v>4.4676734421713283E-3</c:v>
                </c:pt>
                <c:pt idx="8">
                  <c:v>2.387589919403135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6377973338845341E-2</c:v>
                </c:pt>
                <c:pt idx="1">
                  <c:v>8.0879542036183267E-3</c:v>
                </c:pt>
                <c:pt idx="2">
                  <c:v>9.4400015125311945E-3</c:v>
                </c:pt>
                <c:pt idx="3">
                  <c:v>4.5344084563819186E-2</c:v>
                </c:pt>
                <c:pt idx="4">
                  <c:v>2.8775422617171819E-2</c:v>
                </c:pt>
                <c:pt idx="5">
                  <c:v>7.1643079874118776E-2</c:v>
                </c:pt>
                <c:pt idx="6">
                  <c:v>7.1067338435776548E-2</c:v>
                </c:pt>
                <c:pt idx="7">
                  <c:v>0.10774692233884831</c:v>
                </c:pt>
                <c:pt idx="8">
                  <c:v>0.12687543622824865</c:v>
                </c:pt>
                <c:pt idx="9">
                  <c:v>3.4574936179614553E-2</c:v>
                </c:pt>
                <c:pt idx="10">
                  <c:v>1.121834017377038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3">
                  <c:v>2.0899562649838795E-3</c:v>
                </c:pt>
                <c:pt idx="4">
                  <c:v>4.2185404740382765E-2</c:v>
                </c:pt>
                <c:pt idx="5">
                  <c:v>1.4575780542626026E-3</c:v>
                </c:pt>
                <c:pt idx="6">
                  <c:v>0.12407181931779919</c:v>
                </c:pt>
                <c:pt idx="7">
                  <c:v>2.5947318948741912E-2</c:v>
                </c:pt>
                <c:pt idx="8">
                  <c:v>0.1386662609956675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1.2371282471877402E-3</c:v>
                </c:pt>
                <c:pt idx="2">
                  <c:v>1.3954287994129417E-2</c:v>
                </c:pt>
                <c:pt idx="3">
                  <c:v>5.5065899910778969E-3</c:v>
                </c:pt>
                <c:pt idx="4">
                  <c:v>5.8299284924079823E-3</c:v>
                </c:pt>
                <c:pt idx="5">
                  <c:v>7.9707656351761191E-2</c:v>
                </c:pt>
                <c:pt idx="6">
                  <c:v>2.6179522847495355E-2</c:v>
                </c:pt>
                <c:pt idx="7">
                  <c:v>8.0365178624578398E-2</c:v>
                </c:pt>
                <c:pt idx="8">
                  <c:v>0.12693046692371843</c:v>
                </c:pt>
                <c:pt idx="9">
                  <c:v>7.921505489105275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1.4137223668398494E-7</c:v>
                </c:pt>
                <c:pt idx="3">
                  <c:v>2.2215637193197631E-7</c:v>
                </c:pt>
                <c:pt idx="4">
                  <c:v>1.3127421977798601E-7</c:v>
                </c:pt>
                <c:pt idx="6">
                  <c:v>2.4006328629155329E-2</c:v>
                </c:pt>
                <c:pt idx="7">
                  <c:v>1.0861124043585262E-3</c:v>
                </c:pt>
                <c:pt idx="8">
                  <c:v>7.850165019267774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150705379299439E-2</c:v>
                </c:pt>
                <c:pt idx="1">
                  <c:v>7.8531570616770206E-3</c:v>
                </c:pt>
                <c:pt idx="2">
                  <c:v>2.2988943327859031E-3</c:v>
                </c:pt>
                <c:pt idx="3">
                  <c:v>4.7777050327859885E-3</c:v>
                </c:pt>
                <c:pt idx="4">
                  <c:v>4.0285937466313648E-3</c:v>
                </c:pt>
                <c:pt idx="5">
                  <c:v>1.0360807697960639E-2</c:v>
                </c:pt>
                <c:pt idx="6">
                  <c:v>2.7775272067082742E-2</c:v>
                </c:pt>
                <c:pt idx="7">
                  <c:v>5.1712863495158932E-2</c:v>
                </c:pt>
                <c:pt idx="8">
                  <c:v>2.274691405865604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229236969787683E-2</c:v>
                </c:pt>
                <c:pt idx="1">
                  <c:v>3.4208146091019583E-2</c:v>
                </c:pt>
                <c:pt idx="2">
                  <c:v>4.638899137720838E-2</c:v>
                </c:pt>
                <c:pt idx="3">
                  <c:v>4.2363038609228514E-2</c:v>
                </c:pt>
                <c:pt idx="4">
                  <c:v>7.3599001227352384E-2</c:v>
                </c:pt>
                <c:pt idx="5">
                  <c:v>0.21666215265832334</c:v>
                </c:pt>
                <c:pt idx="6">
                  <c:v>0.35850197330543987</c:v>
                </c:pt>
                <c:pt idx="7">
                  <c:v>0.11680761238296966</c:v>
                </c:pt>
                <c:pt idx="8">
                  <c:v>4.7250813869102577E-2</c:v>
                </c:pt>
                <c:pt idx="9">
                  <c:v>2.298885181058734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2067234970202518E-4</c:v>
                </c:pt>
                <c:pt idx="1">
                  <c:v>2.8405607312913979E-6</c:v>
                </c:pt>
                <c:pt idx="2">
                  <c:v>2.000832835447843E-3</c:v>
                </c:pt>
                <c:pt idx="3">
                  <c:v>2.0922698191585174E-3</c:v>
                </c:pt>
                <c:pt idx="4">
                  <c:v>1.9837289047332017E-3</c:v>
                </c:pt>
                <c:pt idx="5">
                  <c:v>1.335072022992722E-2</c:v>
                </c:pt>
                <c:pt idx="6">
                  <c:v>0.20974885772815974</c:v>
                </c:pt>
                <c:pt idx="7">
                  <c:v>0.10680264267358276</c:v>
                </c:pt>
                <c:pt idx="8">
                  <c:v>5.3849702939730822E-3</c:v>
                </c:pt>
                <c:pt idx="9">
                  <c:v>1.240867158143028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5.6932347279614364E-7</c:v>
                </c:pt>
                <c:pt idx="1">
                  <c:v>2.3792966706217691E-2</c:v>
                </c:pt>
                <c:pt idx="2">
                  <c:v>3.1812117972593569E-2</c:v>
                </c:pt>
                <c:pt idx="4">
                  <c:v>2.1253269203768297E-3</c:v>
                </c:pt>
                <c:pt idx="5">
                  <c:v>0.1233043866264559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1224575664137333E-3</c:v>
                </c:pt>
                <c:pt idx="2">
                  <c:v>2.8526376568739032E-3</c:v>
                </c:pt>
                <c:pt idx="3">
                  <c:v>5.1450610165164013E-3</c:v>
                </c:pt>
                <c:pt idx="4">
                  <c:v>5.7721799067503875E-2</c:v>
                </c:pt>
                <c:pt idx="5">
                  <c:v>1.2534031764833841E-2</c:v>
                </c:pt>
                <c:pt idx="6">
                  <c:v>8.6587668068377394E-2</c:v>
                </c:pt>
                <c:pt idx="8">
                  <c:v>1.8426081517454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9985537730199132E-2</c:v>
                </c:pt>
                <c:pt idx="1">
                  <c:v>1.0412338824070604E-2</c:v>
                </c:pt>
                <c:pt idx="2">
                  <c:v>9.7234029122930648E-3</c:v>
                </c:pt>
                <c:pt idx="3">
                  <c:v>3.5125707773553602E-2</c:v>
                </c:pt>
                <c:pt idx="4">
                  <c:v>1.1768146334738484E-2</c:v>
                </c:pt>
                <c:pt idx="5">
                  <c:v>6.7473014037106302E-2</c:v>
                </c:pt>
                <c:pt idx="6">
                  <c:v>6.2165447508902738E-2</c:v>
                </c:pt>
                <c:pt idx="7">
                  <c:v>1.0004969709386895E-2</c:v>
                </c:pt>
                <c:pt idx="8">
                  <c:v>2.3439762057674576E-2</c:v>
                </c:pt>
                <c:pt idx="9">
                  <c:v>1.058018022915705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3220514636903894E-2</c:v>
                </c:pt>
                <c:pt idx="1">
                  <c:v>1.2441037528871992E-2</c:v>
                </c:pt>
                <c:pt idx="2">
                  <c:v>8.7624574801509106E-2</c:v>
                </c:pt>
                <c:pt idx="3">
                  <c:v>3.0282854374379737E-2</c:v>
                </c:pt>
                <c:pt idx="4">
                  <c:v>0.14027776593737548</c:v>
                </c:pt>
                <c:pt idx="5">
                  <c:v>0.28950622024873895</c:v>
                </c:pt>
                <c:pt idx="6">
                  <c:v>0.21798642705429877</c:v>
                </c:pt>
                <c:pt idx="7">
                  <c:v>5.658159874439702E-2</c:v>
                </c:pt>
                <c:pt idx="8">
                  <c:v>9.8827159824716446E-2</c:v>
                </c:pt>
                <c:pt idx="9">
                  <c:v>1.325184684880861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3375518511576435E-3</c:v>
                </c:pt>
                <c:pt idx="1">
                  <c:v>2.1602037164684789E-5</c:v>
                </c:pt>
                <c:pt idx="2">
                  <c:v>9.2131917006053315E-3</c:v>
                </c:pt>
                <c:pt idx="3">
                  <c:v>3.275023134431676E-5</c:v>
                </c:pt>
                <c:pt idx="4">
                  <c:v>1.4103430013893581E-3</c:v>
                </c:pt>
                <c:pt idx="5">
                  <c:v>4.3140155444401931E-2</c:v>
                </c:pt>
                <c:pt idx="6">
                  <c:v>0.11246984924594039</c:v>
                </c:pt>
                <c:pt idx="7">
                  <c:v>4.5377856469198716E-2</c:v>
                </c:pt>
                <c:pt idx="8">
                  <c:v>1.7636134591646855E-3</c:v>
                </c:pt>
                <c:pt idx="9">
                  <c:v>6.143889395100912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1180255460291005E-3</c:v>
                </c:pt>
                <c:pt idx="2">
                  <c:v>5.0127102914921035E-2</c:v>
                </c:pt>
                <c:pt idx="3">
                  <c:v>1.7280858230420521E-3</c:v>
                </c:pt>
                <c:pt idx="4">
                  <c:v>2.6365247784431421E-2</c:v>
                </c:pt>
                <c:pt idx="5">
                  <c:v>0.1007955683112156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1">
                  <c:v>2.1212428994393153E-4</c:v>
                </c:pt>
                <c:pt idx="2">
                  <c:v>9.317537255124032E-3</c:v>
                </c:pt>
                <c:pt idx="3">
                  <c:v>2.6069029849810682E-4</c:v>
                </c:pt>
                <c:pt idx="4">
                  <c:v>6.6651696969245763E-2</c:v>
                </c:pt>
                <c:pt idx="5">
                  <c:v>2.5915848261273244E-2</c:v>
                </c:pt>
                <c:pt idx="6">
                  <c:v>7.5755991257501265E-2</c:v>
                </c:pt>
                <c:pt idx="8">
                  <c:v>2.07393058054201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4764937239717154E-2</c:v>
                </c:pt>
                <c:pt idx="1">
                  <c:v>1.2207311201763375E-2</c:v>
                </c:pt>
                <c:pt idx="2">
                  <c:v>1.8966742930858708E-2</c:v>
                </c:pt>
                <c:pt idx="3">
                  <c:v>2.8261328021495263E-2</c:v>
                </c:pt>
                <c:pt idx="4">
                  <c:v>4.5850478182308925E-2</c:v>
                </c:pt>
                <c:pt idx="5">
                  <c:v>0.11965464823184818</c:v>
                </c:pt>
                <c:pt idx="6">
                  <c:v>2.9760586550857119E-2</c:v>
                </c:pt>
                <c:pt idx="7">
                  <c:v>1.1203742275198304E-2</c:v>
                </c:pt>
                <c:pt idx="8">
                  <c:v>7.6324240560131568E-2</c:v>
                </c:pt>
                <c:pt idx="9">
                  <c:v>7.107957453707702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1847693416567174E-2</c:v>
                </c:pt>
                <c:pt idx="1">
                  <c:v>8.6420771688770298E-2</c:v>
                </c:pt>
                <c:pt idx="2">
                  <c:v>1.4979502724817682E-2</c:v>
                </c:pt>
                <c:pt idx="3">
                  <c:v>3.8435745481682639E-2</c:v>
                </c:pt>
                <c:pt idx="4">
                  <c:v>9.221361436269071E-2</c:v>
                </c:pt>
                <c:pt idx="5">
                  <c:v>0.23543198442819938</c:v>
                </c:pt>
                <c:pt idx="6">
                  <c:v>0.18117729862300258</c:v>
                </c:pt>
                <c:pt idx="7">
                  <c:v>0.20368518910803782</c:v>
                </c:pt>
                <c:pt idx="8">
                  <c:v>9.7217979514334779E-2</c:v>
                </c:pt>
                <c:pt idx="9">
                  <c:v>2.859022065189690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4.2428664933548254E-3</c:v>
                </c:pt>
                <c:pt idx="3">
                  <c:v>9.8194024376712114E-3</c:v>
                </c:pt>
                <c:pt idx="4">
                  <c:v>1.1778201192094651E-2</c:v>
                </c:pt>
                <c:pt idx="5">
                  <c:v>2.2363432229188829E-6</c:v>
                </c:pt>
                <c:pt idx="6">
                  <c:v>1.1011135466633473E-2</c:v>
                </c:pt>
                <c:pt idx="7">
                  <c:v>0.19000214688949399</c:v>
                </c:pt>
                <c:pt idx="8">
                  <c:v>4.5250168772540678E-2</c:v>
                </c:pt>
                <c:pt idx="9">
                  <c:v>1.820416690695460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0456139789913159E-3</c:v>
                </c:pt>
                <c:pt idx="1">
                  <c:v>7.5389509133130556E-2</c:v>
                </c:pt>
                <c:pt idx="2">
                  <c:v>7.0250202079780166E-3</c:v>
                </c:pt>
                <c:pt idx="4">
                  <c:v>2.5381543944715312E-2</c:v>
                </c:pt>
                <c:pt idx="5">
                  <c:v>0.156770800323479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5.3686511881263308E-3</c:v>
                </c:pt>
                <c:pt idx="4">
                  <c:v>3.5295110706602621E-2</c:v>
                </c:pt>
                <c:pt idx="6">
                  <c:v>0.12133356286779519</c:v>
                </c:pt>
                <c:pt idx="7">
                  <c:v>5.0100273823574029E-3</c:v>
                </c:pt>
                <c:pt idx="8">
                  <c:v>2.720587661513941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8802079437575857E-2</c:v>
                </c:pt>
                <c:pt idx="1">
                  <c:v>1.1031262555639744E-2</c:v>
                </c:pt>
                <c:pt idx="2">
                  <c:v>3.7116160234848396E-3</c:v>
                </c:pt>
                <c:pt idx="3">
                  <c:v>2.3247691855885096E-2</c:v>
                </c:pt>
                <c:pt idx="4">
                  <c:v>1.9758758519278136E-2</c:v>
                </c:pt>
                <c:pt idx="5">
                  <c:v>7.8658947761496567E-2</c:v>
                </c:pt>
                <c:pt idx="6">
                  <c:v>4.8832600288573919E-2</c:v>
                </c:pt>
                <c:pt idx="7">
                  <c:v>8.6730148361864323E-3</c:v>
                </c:pt>
                <c:pt idx="8">
                  <c:v>2.4761934126654679E-2</c:v>
                </c:pt>
                <c:pt idx="9">
                  <c:v>1.038605374494229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9498331266352525</c:v>
                </c:pt>
                <c:pt idx="1">
                  <c:v>1.2898740235923686E-2</c:v>
                </c:pt>
                <c:pt idx="2">
                  <c:v>1.7945797245864717E-2</c:v>
                </c:pt>
                <c:pt idx="3">
                  <c:v>2.9439778517212502E-2</c:v>
                </c:pt>
                <c:pt idx="4">
                  <c:v>9.6515302301864808E-2</c:v>
                </c:pt>
                <c:pt idx="5">
                  <c:v>8.4406928367194101E-2</c:v>
                </c:pt>
                <c:pt idx="6">
                  <c:v>0.18499548315225822</c:v>
                </c:pt>
                <c:pt idx="7">
                  <c:v>0.25423962509260389</c:v>
                </c:pt>
                <c:pt idx="8">
                  <c:v>0.10017514101023534</c:v>
                </c:pt>
                <c:pt idx="9">
                  <c:v>2.0524173093343596E-2</c:v>
                </c:pt>
                <c:pt idx="10">
                  <c:v>3.8757183199738727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8865693651208953E-2</c:v>
                </c:pt>
                <c:pt idx="1">
                  <c:v>1.597352639820093E-3</c:v>
                </c:pt>
                <c:pt idx="2">
                  <c:v>1.8386094103793419E-5</c:v>
                </c:pt>
                <c:pt idx="3">
                  <c:v>7.3486517224377271E-3</c:v>
                </c:pt>
                <c:pt idx="4">
                  <c:v>1.2772791325125798E-2</c:v>
                </c:pt>
                <c:pt idx="5">
                  <c:v>4.9915516131305994E-2</c:v>
                </c:pt>
                <c:pt idx="6">
                  <c:v>3.0033433731189212E-2</c:v>
                </c:pt>
                <c:pt idx="7">
                  <c:v>0.1150925878033594</c:v>
                </c:pt>
                <c:pt idx="8">
                  <c:v>7.2603903415943416E-2</c:v>
                </c:pt>
                <c:pt idx="9">
                  <c:v>1.893268156719603E-2</c:v>
                </c:pt>
                <c:pt idx="10">
                  <c:v>3.7254307485164256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3.2172449604721029E-2</c:v>
                </c:pt>
                <c:pt idx="5">
                  <c:v>3.2735132775573851E-3</c:v>
                </c:pt>
                <c:pt idx="6">
                  <c:v>6.4594512741243129E-2</c:v>
                </c:pt>
                <c:pt idx="7">
                  <c:v>4.075327447505704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ve D'Affino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9023622314289713E-4</c:v>
                </c:pt>
                <c:pt idx="2">
                  <c:v>5.5560065311747217E-4</c:v>
                </c:pt>
                <c:pt idx="3">
                  <c:v>4.8825271761337026E-4</c:v>
                </c:pt>
                <c:pt idx="4">
                  <c:v>7.5686202940650389E-4</c:v>
                </c:pt>
                <c:pt idx="5">
                  <c:v>2.646069271653E-3</c:v>
                </c:pt>
                <c:pt idx="6">
                  <c:v>9.0237576035883196E-4</c:v>
                </c:pt>
                <c:pt idx="7">
                  <c:v>2.7493884713361373E-2</c:v>
                </c:pt>
                <c:pt idx="8">
                  <c:v>3.94409865691543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0.12592738278917343</c:v>
                </c:pt>
                <c:pt idx="1">
                  <c:v>1.1301387596103593E-2</c:v>
                </c:pt>
                <c:pt idx="2">
                  <c:v>1.7371810498643451E-2</c:v>
                </c:pt>
                <c:pt idx="3">
                  <c:v>2.1602874077161403E-2</c:v>
                </c:pt>
                <c:pt idx="4">
                  <c:v>5.081319934261147E-2</c:v>
                </c:pt>
                <c:pt idx="5">
                  <c:v>2.8571829686677729E-2</c:v>
                </c:pt>
                <c:pt idx="6">
                  <c:v>8.9465160919467046E-2</c:v>
                </c:pt>
                <c:pt idx="7">
                  <c:v>0.10757782512837744</c:v>
                </c:pt>
                <c:pt idx="8">
                  <c:v>2.7176827728600368E-2</c:v>
                </c:pt>
                <c:pt idx="9">
                  <c:v>1.591491526147567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25131734248297161</c:v>
                </c:pt>
                <c:pt idx="1">
                  <c:v>2.3995313180558159E-2</c:v>
                </c:pt>
                <c:pt idx="2">
                  <c:v>1.7913651730790934E-2</c:v>
                </c:pt>
                <c:pt idx="3">
                  <c:v>4.7597097714130857E-2</c:v>
                </c:pt>
                <c:pt idx="4">
                  <c:v>9.6518899672269634E-2</c:v>
                </c:pt>
                <c:pt idx="5">
                  <c:v>0.11494751174683011</c:v>
                </c:pt>
                <c:pt idx="6">
                  <c:v>0.17365993639694649</c:v>
                </c:pt>
                <c:pt idx="7">
                  <c:v>0.17952376942204418</c:v>
                </c:pt>
                <c:pt idx="8">
                  <c:v>8.2893600058558198E-2</c:v>
                </c:pt>
                <c:pt idx="9">
                  <c:v>1.0852694598812915E-2</c:v>
                </c:pt>
                <c:pt idx="10">
                  <c:v>7.801829960868735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9.0782490226790774E-2</c:v>
                </c:pt>
                <c:pt idx="1">
                  <c:v>3.6498678989089948E-3</c:v>
                </c:pt>
                <c:pt idx="2">
                  <c:v>1.3021314977468314E-4</c:v>
                </c:pt>
                <c:pt idx="3">
                  <c:v>2.4115791299788969E-2</c:v>
                </c:pt>
                <c:pt idx="4">
                  <c:v>3.4095393137324376E-2</c:v>
                </c:pt>
                <c:pt idx="5">
                  <c:v>5.0090418365926447E-2</c:v>
                </c:pt>
                <c:pt idx="6">
                  <c:v>4.3030400579000906E-2</c:v>
                </c:pt>
                <c:pt idx="7">
                  <c:v>8.4587082630668844E-2</c:v>
                </c:pt>
                <c:pt idx="8">
                  <c:v>1.8760286273090294E-2</c:v>
                </c:pt>
                <c:pt idx="9">
                  <c:v>7.899963053851185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2.6529993479664411E-2</c:v>
                </c:pt>
                <c:pt idx="5">
                  <c:v>1.5983326112948473E-2</c:v>
                </c:pt>
                <c:pt idx="6">
                  <c:v>3.6642299154613651E-2</c:v>
                </c:pt>
                <c:pt idx="7">
                  <c:v>7.044404733553281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ocha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5422420267787064E-2</c:v>
                </c:pt>
                <c:pt idx="1">
                  <c:v>7.2585754055184613E-7</c:v>
                </c:pt>
                <c:pt idx="2">
                  <c:v>9.4233387764583793E-5</c:v>
                </c:pt>
                <c:pt idx="3">
                  <c:v>4.4496063510883832E-3</c:v>
                </c:pt>
                <c:pt idx="4">
                  <c:v>7.903706201560306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0.13511243198839379</c:v>
                </c:pt>
                <c:pt idx="1">
                  <c:v>2.0344719424108614E-2</c:v>
                </c:pt>
                <c:pt idx="2">
                  <c:v>1.7689205193251671E-2</c:v>
                </c:pt>
                <c:pt idx="3">
                  <c:v>1.9031700063253505E-2</c:v>
                </c:pt>
                <c:pt idx="4">
                  <c:v>2.7989806853720534E-2</c:v>
                </c:pt>
                <c:pt idx="5">
                  <c:v>4.8873767267955191E-2</c:v>
                </c:pt>
                <c:pt idx="6">
                  <c:v>9.3987236663331947E-2</c:v>
                </c:pt>
                <c:pt idx="7">
                  <c:v>8.7892282057822069E-2</c:v>
                </c:pt>
                <c:pt idx="8">
                  <c:v>6.413331378546791E-2</c:v>
                </c:pt>
                <c:pt idx="9">
                  <c:v>2.9527315449617295E-3</c:v>
                </c:pt>
                <c:pt idx="10">
                  <c:v>7.80182996086873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1144784079699287</c:v>
                </c:pt>
                <c:pt idx="1">
                  <c:v>8.6392287917828828E-3</c:v>
                </c:pt>
                <c:pt idx="2">
                  <c:v>7.0227379730336608E-3</c:v>
                </c:pt>
                <c:pt idx="3">
                  <c:v>2.7032315135339206E-2</c:v>
                </c:pt>
                <c:pt idx="4">
                  <c:v>9.96247835885887E-2</c:v>
                </c:pt>
                <c:pt idx="5">
                  <c:v>8.0920570595953006E-2</c:v>
                </c:pt>
                <c:pt idx="6">
                  <c:v>0.20955945736429468</c:v>
                </c:pt>
                <c:pt idx="7">
                  <c:v>0.23817842059258379</c:v>
                </c:pt>
                <c:pt idx="8">
                  <c:v>0.13772118601552835</c:v>
                </c:pt>
                <c:pt idx="9">
                  <c:v>6.568136875285141E-2</c:v>
                </c:pt>
                <c:pt idx="10">
                  <c:v>1.417209039305146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2528706969333908E-2</c:v>
                </c:pt>
                <c:pt idx="1">
                  <c:v>2.7584241128280015E-3</c:v>
                </c:pt>
                <c:pt idx="3">
                  <c:v>7.7147957595130982E-3</c:v>
                </c:pt>
                <c:pt idx="4">
                  <c:v>5.9720868227180102E-4</c:v>
                </c:pt>
                <c:pt idx="5">
                  <c:v>3.1822717714722143E-2</c:v>
                </c:pt>
                <c:pt idx="6">
                  <c:v>1.9436485517554534E-2</c:v>
                </c:pt>
                <c:pt idx="7">
                  <c:v>0.11070641897637123</c:v>
                </c:pt>
                <c:pt idx="8">
                  <c:v>0.1157492746569071</c:v>
                </c:pt>
                <c:pt idx="9">
                  <c:v>6.4988796582005265E-2</c:v>
                </c:pt>
                <c:pt idx="10">
                  <c:v>1.415468564988960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3.9221858556222754E-2</c:v>
                </c:pt>
                <c:pt idx="5">
                  <c:v>3.348026652497092E-3</c:v>
                </c:pt>
                <c:pt idx="6">
                  <c:v>7.527079195789218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6225170171208116E-5</c:v>
                </c:pt>
                <c:pt idx="1">
                  <c:v>3.2573516509372845E-3</c:v>
                </c:pt>
                <c:pt idx="2">
                  <c:v>1.4171710929174392E-4</c:v>
                </c:pt>
                <c:pt idx="4">
                  <c:v>6.4344424756078303E-4</c:v>
                </c:pt>
                <c:pt idx="5">
                  <c:v>1.0633758389935783E-3</c:v>
                </c:pt>
                <c:pt idx="6">
                  <c:v>3.4317524055880594E-2</c:v>
                </c:pt>
                <c:pt idx="7">
                  <c:v>3.07400229481201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8892908657487751E-2</c:v>
                </c:pt>
                <c:pt idx="1">
                  <c:v>2.6234530280175973E-3</c:v>
                </c:pt>
                <c:pt idx="2">
                  <c:v>6.8810208637419172E-3</c:v>
                </c:pt>
                <c:pt idx="3">
                  <c:v>1.9317519375826108E-2</c:v>
                </c:pt>
                <c:pt idx="4">
                  <c:v>5.9162272102533366E-2</c:v>
                </c:pt>
                <c:pt idx="5">
                  <c:v>4.468645038974018E-2</c:v>
                </c:pt>
                <c:pt idx="6">
                  <c:v>8.0534655832967358E-2</c:v>
                </c:pt>
                <c:pt idx="7">
                  <c:v>9.6731978668092425E-2</c:v>
                </c:pt>
                <c:pt idx="8">
                  <c:v>2.1971911358621251E-2</c:v>
                </c:pt>
                <c:pt idx="9">
                  <c:v>6.9257217084613934E-4</c:v>
                </c:pt>
                <c:pt idx="10">
                  <c:v>1.7404743161856447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1.6999999999999999E-3</c:v>
                </c:pt>
                <c:pt idx="5">
                  <c:v>0.2286</c:v>
                </c:pt>
                <c:pt idx="6">
                  <c:v>8.0100000000000005E-2</c:v>
                </c:pt>
                <c:pt idx="7">
                  <c:v>0.17910000000000001</c:v>
                </c:pt>
                <c:pt idx="8">
                  <c:v>0.45839999999999997</c:v>
                </c:pt>
                <c:pt idx="9">
                  <c:v>4.7100000000000003E-2</c:v>
                </c:pt>
                <c:pt idx="10">
                  <c:v>5.1999999999999998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2077901001157398E-2</c:v>
                </c:pt>
                <c:pt idx="1">
                  <c:v>1.6357704156459721E-2</c:v>
                </c:pt>
                <c:pt idx="2">
                  <c:v>2.8302490935711529E-2</c:v>
                </c:pt>
                <c:pt idx="3">
                  <c:v>4.2301193686235687E-2</c:v>
                </c:pt>
                <c:pt idx="4">
                  <c:v>8.7005975729223459E-2</c:v>
                </c:pt>
                <c:pt idx="5">
                  <c:v>9.6086658000910513E-2</c:v>
                </c:pt>
                <c:pt idx="6">
                  <c:v>0.11481564554959318</c:v>
                </c:pt>
                <c:pt idx="7">
                  <c:v>0.16444298417770556</c:v>
                </c:pt>
                <c:pt idx="8">
                  <c:v>0.2120085005494714</c:v>
                </c:pt>
                <c:pt idx="9">
                  <c:v>0.11609744764373198</c:v>
                </c:pt>
                <c:pt idx="10">
                  <c:v>6.050349856979948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0195170591014295E-2</c:v>
                </c:pt>
                <c:pt idx="1">
                  <c:v>6.5559309181143974E-4</c:v>
                </c:pt>
                <c:pt idx="2">
                  <c:v>1.8509581616242188E-3</c:v>
                </c:pt>
                <c:pt idx="3">
                  <c:v>0.14860049297530936</c:v>
                </c:pt>
                <c:pt idx="4">
                  <c:v>0.35490978902863579</c:v>
                </c:pt>
                <c:pt idx="5">
                  <c:v>9.2347322437613608E-2</c:v>
                </c:pt>
                <c:pt idx="6">
                  <c:v>2.4790528801785797E-2</c:v>
                </c:pt>
                <c:pt idx="7">
                  <c:v>0.12812039009766801</c:v>
                </c:pt>
                <c:pt idx="8">
                  <c:v>0.22102038676692065</c:v>
                </c:pt>
                <c:pt idx="9">
                  <c:v>7.438768929166038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2077901001157398E-2</c:v>
                </c:pt>
                <c:pt idx="1">
                  <c:v>1.6357704156459721E-2</c:v>
                </c:pt>
                <c:pt idx="2">
                  <c:v>2.8302490935711529E-2</c:v>
                </c:pt>
                <c:pt idx="3">
                  <c:v>4.2301193686235687E-2</c:v>
                </c:pt>
                <c:pt idx="4">
                  <c:v>8.7005975729223459E-2</c:v>
                </c:pt>
                <c:pt idx="5">
                  <c:v>9.6086658000910513E-2</c:v>
                </c:pt>
                <c:pt idx="6">
                  <c:v>0.11481564554959318</c:v>
                </c:pt>
                <c:pt idx="7">
                  <c:v>0.16444298417770556</c:v>
                </c:pt>
                <c:pt idx="8">
                  <c:v>0.2120085005494714</c:v>
                </c:pt>
                <c:pt idx="9">
                  <c:v>0.11609744764373198</c:v>
                </c:pt>
                <c:pt idx="10">
                  <c:v>6.050349856979948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6.3030061277392079E-9</c:v>
                </c:pt>
                <c:pt idx="4">
                  <c:v>2.2031836337567109E-5</c:v>
                </c:pt>
                <c:pt idx="5">
                  <c:v>3.0272620660629522E-3</c:v>
                </c:pt>
                <c:pt idx="6">
                  <c:v>1.0604946733321584E-3</c:v>
                </c:pt>
                <c:pt idx="7">
                  <c:v>2.3717787570514855E-3</c:v>
                </c:pt>
                <c:pt idx="8">
                  <c:v>6.0714307240521733E-3</c:v>
                </c:pt>
                <c:pt idx="9">
                  <c:v>6.2350712986322101E-4</c:v>
                </c:pt>
                <c:pt idx="10">
                  <c:v>6.8894815530086233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1538444864487149E-2</c:v>
                </c:pt>
                <c:pt idx="1">
                  <c:v>2.2455816405880067E-3</c:v>
                </c:pt>
                <c:pt idx="2">
                  <c:v>4.1885230269920557E-3</c:v>
                </c:pt>
                <c:pt idx="3">
                  <c:v>1.2191580212386761E-2</c:v>
                </c:pt>
                <c:pt idx="4">
                  <c:v>4.0900130612295076E-2</c:v>
                </c:pt>
                <c:pt idx="5">
                  <c:v>3.0290824771388659E-2</c:v>
                </c:pt>
                <c:pt idx="6">
                  <c:v>3.526116598956102E-2</c:v>
                </c:pt>
                <c:pt idx="7">
                  <c:v>5.7462202796276729E-2</c:v>
                </c:pt>
                <c:pt idx="8">
                  <c:v>0.11288989348996172</c:v>
                </c:pt>
                <c:pt idx="9">
                  <c:v>8.7798703652214219E-2</c:v>
                </c:pt>
                <c:pt idx="10">
                  <c:v>5.253549651773003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0024264569493114E-5</c:v>
                </c:pt>
                <c:pt idx="1">
                  <c:v>9.8906128992593074E-5</c:v>
                </c:pt>
                <c:pt idx="2">
                  <c:v>2.537641720139052E-4</c:v>
                </c:pt>
                <c:pt idx="3">
                  <c:v>2.0673242661649641E-4</c:v>
                </c:pt>
                <c:pt idx="4">
                  <c:v>3.8652567641025732E-4</c:v>
                </c:pt>
                <c:pt idx="5">
                  <c:v>1.3988485320325549E-2</c:v>
                </c:pt>
                <c:pt idx="6">
                  <c:v>6.1977304894725894E-3</c:v>
                </c:pt>
                <c:pt idx="7">
                  <c:v>2.1303176671005927E-3</c:v>
                </c:pt>
                <c:pt idx="8">
                  <c:v>8.5674035279462971E-4</c:v>
                </c:pt>
                <c:pt idx="10">
                  <c:v>5.865397416584743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4487758012653802E-3</c:v>
                </c:pt>
                <c:pt idx="1">
                  <c:v>1.6333675682140224E-3</c:v>
                </c:pt>
                <c:pt idx="2">
                  <c:v>1.846215325734985E-3</c:v>
                </c:pt>
                <c:pt idx="3">
                  <c:v>2.2268276247024201E-4</c:v>
                </c:pt>
                <c:pt idx="4">
                  <c:v>1.7035596453114199E-3</c:v>
                </c:pt>
                <c:pt idx="5">
                  <c:v>6.4884704108218189E-3</c:v>
                </c:pt>
                <c:pt idx="6">
                  <c:v>7.464840919491492E-3</c:v>
                </c:pt>
                <c:pt idx="7">
                  <c:v>1.3014956824255595E-2</c:v>
                </c:pt>
                <c:pt idx="8">
                  <c:v>1.1485134011645847E-2</c:v>
                </c:pt>
                <c:pt idx="9">
                  <c:v>1.1462806448551389E-2</c:v>
                </c:pt>
                <c:pt idx="10">
                  <c:v>7.8572759857284498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9070649767829244E-2</c:v>
                </c:pt>
                <c:pt idx="1">
                  <c:v>1.2379848818665103E-2</c:v>
                </c:pt>
                <c:pt idx="2">
                  <c:v>2.2013988410970579E-2</c:v>
                </c:pt>
                <c:pt idx="3">
                  <c:v>2.9680198284762198E-2</c:v>
                </c:pt>
                <c:pt idx="4">
                  <c:v>4.399372795886914E-2</c:v>
                </c:pt>
                <c:pt idx="5">
                  <c:v>4.2291615432311538E-2</c:v>
                </c:pt>
                <c:pt idx="6">
                  <c:v>6.4831413477735939E-2</c:v>
                </c:pt>
                <c:pt idx="7">
                  <c:v>8.9463728133021198E-2</c:v>
                </c:pt>
                <c:pt idx="8">
                  <c:v>8.0705301971017065E-2</c:v>
                </c:pt>
                <c:pt idx="9">
                  <c:v>1.6212430413103142E-2</c:v>
                </c:pt>
                <c:pt idx="10">
                  <c:v>7.885384563137047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6.7999999999999996E-3</c:v>
                </c:pt>
                <c:pt idx="5">
                  <c:v>0.1512</c:v>
                </c:pt>
                <c:pt idx="6">
                  <c:v>0.1555</c:v>
                </c:pt>
                <c:pt idx="7">
                  <c:v>0.29189999999999999</c:v>
                </c:pt>
                <c:pt idx="8">
                  <c:v>0.33700000000000002</c:v>
                </c:pt>
                <c:pt idx="9">
                  <c:v>5.1400000000000001E-2</c:v>
                </c:pt>
                <c:pt idx="10">
                  <c:v>6.1999999999999998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0697147546730496E-2</c:v>
                </c:pt>
                <c:pt idx="1">
                  <c:v>2.762093286417321E-2</c:v>
                </c:pt>
                <c:pt idx="2">
                  <c:v>3.321975086399976E-2</c:v>
                </c:pt>
                <c:pt idx="3">
                  <c:v>5.0673883901639502E-2</c:v>
                </c:pt>
                <c:pt idx="4">
                  <c:v>8.0498478937970977E-2</c:v>
                </c:pt>
                <c:pt idx="5">
                  <c:v>0.11300954238676618</c:v>
                </c:pt>
                <c:pt idx="6">
                  <c:v>0.13054828460312656</c:v>
                </c:pt>
                <c:pt idx="7">
                  <c:v>0.16999688993527617</c:v>
                </c:pt>
                <c:pt idx="8">
                  <c:v>0.17596357403605911</c:v>
                </c:pt>
                <c:pt idx="9">
                  <c:v>0.1247508482589552</c:v>
                </c:pt>
                <c:pt idx="10">
                  <c:v>2.30206666653028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4.0015537298153619E-8</c:v>
                </c:pt>
                <c:pt idx="4">
                  <c:v>1.0924894997290601E-4</c:v>
                </c:pt>
                <c:pt idx="5">
                  <c:v>2.4172512273142985E-3</c:v>
                </c:pt>
                <c:pt idx="6">
                  <c:v>2.4872310522562045E-3</c:v>
                </c:pt>
                <c:pt idx="7">
                  <c:v>4.6678336585636963E-3</c:v>
                </c:pt>
                <c:pt idx="8">
                  <c:v>5.3888630087720879E-3</c:v>
                </c:pt>
                <c:pt idx="9">
                  <c:v>8.2185788783270053E-4</c:v>
                </c:pt>
                <c:pt idx="10">
                  <c:v>9.8397389572541408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3069188362529549E-2</c:v>
                </c:pt>
                <c:pt idx="1">
                  <c:v>6.7719151245464616E-3</c:v>
                </c:pt>
                <c:pt idx="2">
                  <c:v>8.0226464748428782E-3</c:v>
                </c:pt>
                <c:pt idx="3">
                  <c:v>1.2031283771403632E-2</c:v>
                </c:pt>
                <c:pt idx="4">
                  <c:v>2.854363725578982E-2</c:v>
                </c:pt>
                <c:pt idx="5">
                  <c:v>4.0881534773557035E-2</c:v>
                </c:pt>
                <c:pt idx="6">
                  <c:v>4.5462132927523519E-2</c:v>
                </c:pt>
                <c:pt idx="7">
                  <c:v>5.1487648851214561E-2</c:v>
                </c:pt>
                <c:pt idx="8">
                  <c:v>7.984020946647484E-2</c:v>
                </c:pt>
                <c:pt idx="9">
                  <c:v>9.3795015616492172E-2</c:v>
                </c:pt>
                <c:pt idx="10">
                  <c:v>1.69619982772821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6949239404878965E-8</c:v>
                </c:pt>
                <c:pt idx="1">
                  <c:v>1.458582667390066E-4</c:v>
                </c:pt>
                <c:pt idx="2">
                  <c:v>7.0414034353771587E-4</c:v>
                </c:pt>
                <c:pt idx="3">
                  <c:v>3.6955655324634191E-4</c:v>
                </c:pt>
                <c:pt idx="4">
                  <c:v>3.3291007919560734E-3</c:v>
                </c:pt>
                <c:pt idx="5">
                  <c:v>1.3581920957382672E-2</c:v>
                </c:pt>
                <c:pt idx="6">
                  <c:v>5.2992037059156737E-3</c:v>
                </c:pt>
                <c:pt idx="7">
                  <c:v>2.363480144909E-3</c:v>
                </c:pt>
                <c:pt idx="8">
                  <c:v>7.6660378061651536E-4</c:v>
                </c:pt>
                <c:pt idx="9">
                  <c:v>4.1077174001982182E-7</c:v>
                </c:pt>
                <c:pt idx="10">
                  <c:v>4.9545768324060818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8179328086945236E-3</c:v>
                </c:pt>
                <c:pt idx="1">
                  <c:v>2.4154203123220035E-3</c:v>
                </c:pt>
                <c:pt idx="2">
                  <c:v>1.839366437101204E-3</c:v>
                </c:pt>
                <c:pt idx="3">
                  <c:v>9.6860466282844987E-4</c:v>
                </c:pt>
                <c:pt idx="4">
                  <c:v>2.224397570271275E-3</c:v>
                </c:pt>
                <c:pt idx="5">
                  <c:v>3.2821535836255375E-3</c:v>
                </c:pt>
                <c:pt idx="6">
                  <c:v>9.0204175644999721E-3</c:v>
                </c:pt>
                <c:pt idx="7">
                  <c:v>1.3447783159853934E-2</c:v>
                </c:pt>
                <c:pt idx="8">
                  <c:v>1.1212361717378827E-2</c:v>
                </c:pt>
                <c:pt idx="9">
                  <c:v>9.1256167787695814E-3</c:v>
                </c:pt>
                <c:pt idx="10">
                  <c:v>1.6332872366593312E-8</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5809959410729725E-2</c:v>
                </c:pt>
                <c:pt idx="1">
                  <c:v>1.8287739160565739E-2</c:v>
                </c:pt>
                <c:pt idx="2">
                  <c:v>2.2653597608517963E-2</c:v>
                </c:pt>
                <c:pt idx="3">
                  <c:v>3.7304438914161082E-2</c:v>
                </c:pt>
                <c:pt idx="4">
                  <c:v>4.6292094369980906E-2</c:v>
                </c:pt>
                <c:pt idx="5">
                  <c:v>5.2846681844886625E-2</c:v>
                </c:pt>
                <c:pt idx="6">
                  <c:v>6.82792993529312E-2</c:v>
                </c:pt>
                <c:pt idx="7">
                  <c:v>9.8030144120734936E-2</c:v>
                </c:pt>
                <c:pt idx="8">
                  <c:v>7.8755536062816808E-2</c:v>
                </c:pt>
                <c:pt idx="9">
                  <c:v>2.100794720412074E-2</c:v>
                </c:pt>
                <c:pt idx="10">
                  <c:v>5.955300088743437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8.9999999999999998E-4</c:v>
                </c:pt>
                <c:pt idx="5">
                  <c:v>0.26479999999999998</c:v>
                </c:pt>
                <c:pt idx="6">
                  <c:v>0.1105</c:v>
                </c:pt>
                <c:pt idx="7">
                  <c:v>0.1152</c:v>
                </c:pt>
                <c:pt idx="8">
                  <c:v>0.45269999999999999</c:v>
                </c:pt>
                <c:pt idx="9">
                  <c:v>5.21E-2</c:v>
                </c:pt>
                <c:pt idx="10">
                  <c:v>3.8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16974831059355E-2</c:v>
                </c:pt>
                <c:pt idx="1">
                  <c:v>1.5471007476381237E-2</c:v>
                </c:pt>
                <c:pt idx="2">
                  <c:v>2.8116529382288598E-2</c:v>
                </c:pt>
                <c:pt idx="3">
                  <c:v>6.0924029525371806E-2</c:v>
                </c:pt>
                <c:pt idx="4">
                  <c:v>9.3187425528592355E-2</c:v>
                </c:pt>
                <c:pt idx="5">
                  <c:v>9.3289653501717223E-2</c:v>
                </c:pt>
                <c:pt idx="6">
                  <c:v>0.10624332582688127</c:v>
                </c:pt>
                <c:pt idx="7">
                  <c:v>0.17288833054716357</c:v>
                </c:pt>
                <c:pt idx="8">
                  <c:v>0.17090235363397566</c:v>
                </c:pt>
                <c:pt idx="9">
                  <c:v>0.13659252312310796</c:v>
                </c:pt>
                <c:pt idx="10">
                  <c:v>5.821507314392683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1.2566852429191972E-5</c:v>
                </c:pt>
                <c:pt idx="5">
                  <c:v>3.9110315560819372E-3</c:v>
                </c:pt>
                <c:pt idx="6">
                  <c:v>1.6316665628085386E-3</c:v>
                </c:pt>
                <c:pt idx="7">
                  <c:v>1.7013693590435469E-3</c:v>
                </c:pt>
                <c:pt idx="8">
                  <c:v>6.6863513202708022E-3</c:v>
                </c:pt>
                <c:pt idx="9">
                  <c:v>7.6960407521445978E-4</c:v>
                </c:pt>
                <c:pt idx="10">
                  <c:v>5.6574638133906865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709575451865134E-2</c:v>
                </c:pt>
                <c:pt idx="1">
                  <c:v>2.1376147062245193E-3</c:v>
                </c:pt>
                <c:pt idx="2">
                  <c:v>2.6652669057921669E-3</c:v>
                </c:pt>
                <c:pt idx="3">
                  <c:v>2.4662535640707573E-2</c:v>
                </c:pt>
                <c:pt idx="4">
                  <c:v>4.45585303038303E-2</c:v>
                </c:pt>
                <c:pt idx="5">
                  <c:v>2.4833097961049617E-2</c:v>
                </c:pt>
                <c:pt idx="6">
                  <c:v>2.2501610407288115E-2</c:v>
                </c:pt>
                <c:pt idx="7">
                  <c:v>6.3916576005616621E-2</c:v>
                </c:pt>
                <c:pt idx="8">
                  <c:v>7.9913084957174543E-2</c:v>
                </c:pt>
                <c:pt idx="9">
                  <c:v>0.10666311283914565</c:v>
                </c:pt>
                <c:pt idx="10">
                  <c:v>5.269110274009989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1658698560818508E-3</c:v>
                </c:pt>
                <c:pt idx="1">
                  <c:v>8.959646396638982E-4</c:v>
                </c:pt>
                <c:pt idx="2">
                  <c:v>1.3220034602917333E-3</c:v>
                </c:pt>
                <c:pt idx="3">
                  <c:v>4.2025595118015072E-4</c:v>
                </c:pt>
                <c:pt idx="4">
                  <c:v>5.8769030685128796E-3</c:v>
                </c:pt>
                <c:pt idx="5">
                  <c:v>1.1446712251356579E-2</c:v>
                </c:pt>
                <c:pt idx="6">
                  <c:v>7.7241962709556798E-3</c:v>
                </c:pt>
                <c:pt idx="7">
                  <c:v>1.9110164590909029E-2</c:v>
                </c:pt>
                <c:pt idx="8">
                  <c:v>1.3334039337449676E-2</c:v>
                </c:pt>
                <c:pt idx="9">
                  <c:v>1.3008429469742575E-2</c:v>
                </c:pt>
                <c:pt idx="10">
                  <c:v>9.7941445126612574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Richesmont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441726336491115E-2</c:v>
                </c:pt>
                <c:pt idx="1">
                  <c:v>4.585391295448984E-4</c:v>
                </c:pt>
                <c:pt idx="2">
                  <c:v>2.9427153258224249E-3</c:v>
                </c:pt>
                <c:pt idx="3">
                  <c:v>4.8568856122759501E-4</c:v>
                </c:pt>
                <c:pt idx="4">
                  <c:v>4.1863455935319212E-6</c:v>
                </c:pt>
                <c:pt idx="5">
                  <c:v>5.6649242052325201E-6</c:v>
                </c:pt>
                <c:pt idx="6">
                  <c:v>3.4989948251709609E-5</c:v>
                </c:pt>
                <c:pt idx="7">
                  <c:v>1.4651854320607352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9490860570949217E-2</c:v>
                </c:pt>
                <c:pt idx="1">
                  <c:v>1.1978889000947922E-2</c:v>
                </c:pt>
                <c:pt idx="2">
                  <c:v>2.1186543690382267E-2</c:v>
                </c:pt>
                <c:pt idx="3">
                  <c:v>3.5355549372256483E-2</c:v>
                </c:pt>
                <c:pt idx="4">
                  <c:v>4.2735238958226451E-2</c:v>
                </c:pt>
                <c:pt idx="5">
                  <c:v>5.3093146809023863E-2</c:v>
                </c:pt>
                <c:pt idx="6">
                  <c:v>7.4350862637577231E-2</c:v>
                </c:pt>
                <c:pt idx="7">
                  <c:v>8.8013702048388279E-2</c:v>
                </c:pt>
                <c:pt idx="8">
                  <c:v>7.0968878019080611E-2</c:v>
                </c:pt>
                <c:pt idx="9">
                  <c:v>1.6151376739005258E-2</c:v>
                </c:pt>
                <c:pt idx="10">
                  <c:v>5.369454320566426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2.0999999999999999E-3</c:v>
                </c:pt>
                <c:pt idx="5">
                  <c:v>7.0499999999999993E-2</c:v>
                </c:pt>
                <c:pt idx="6">
                  <c:v>9.3600000000000003E-2</c:v>
                </c:pt>
                <c:pt idx="7">
                  <c:v>0.1943</c:v>
                </c:pt>
                <c:pt idx="8">
                  <c:v>0.5736</c:v>
                </c:pt>
                <c:pt idx="9">
                  <c:v>5.9299999999999999E-2</c:v>
                </c:pt>
                <c:pt idx="10">
                  <c:v>6.6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788248935620394E-2</c:v>
                </c:pt>
                <c:pt idx="1">
                  <c:v>1.625320005116317E-2</c:v>
                </c:pt>
                <c:pt idx="2">
                  <c:v>2.1270985884982808E-2</c:v>
                </c:pt>
                <c:pt idx="3">
                  <c:v>3.9448936569282715E-2</c:v>
                </c:pt>
                <c:pt idx="4">
                  <c:v>5.1569641955082006E-2</c:v>
                </c:pt>
                <c:pt idx="5">
                  <c:v>0.10247762175383172</c:v>
                </c:pt>
                <c:pt idx="6">
                  <c:v>0.13074313124652509</c:v>
                </c:pt>
                <c:pt idx="7">
                  <c:v>0.1778504929039384</c:v>
                </c:pt>
                <c:pt idx="8">
                  <c:v>0.25637711642589039</c:v>
                </c:pt>
                <c:pt idx="9">
                  <c:v>0.10345857949612594</c:v>
                </c:pt>
                <c:pt idx="10">
                  <c:v>8.176204477755734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8.139294344834435E-6</c:v>
                </c:pt>
                <c:pt idx="3">
                  <c:v>0.14599777078309215</c:v>
                </c:pt>
                <c:pt idx="4">
                  <c:v>0.3510318236626534</c:v>
                </c:pt>
                <c:pt idx="5">
                  <c:v>3.7263721959881675E-3</c:v>
                </c:pt>
                <c:pt idx="6">
                  <c:v>1.0554014983310694E-3</c:v>
                </c:pt>
                <c:pt idx="7">
                  <c:v>2.148157798940302E-2</c:v>
                </c:pt>
                <c:pt idx="8">
                  <c:v>7.4162946944252003E-2</c:v>
                </c:pt>
                <c:pt idx="9">
                  <c:v>6.312739820105259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3.7673915802067669E-4</c:v>
                </c:pt>
                <c:pt idx="4">
                  <c:v>1.6905418825910495E-6</c:v>
                </c:pt>
                <c:pt idx="5">
                  <c:v>2.1511670584655771E-6</c:v>
                </c:pt>
                <c:pt idx="6">
                  <c:v>1.2273239093347952E-3</c:v>
                </c:pt>
                <c:pt idx="7">
                  <c:v>3.1593521019129306E-3</c:v>
                </c:pt>
                <c:pt idx="8">
                  <c:v>0.1403805132452864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8.4379100484128458E-2</c:v>
                </c:pt>
                <c:pt idx="6">
                  <c:v>2.791801703843977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0195170591014295E-2</c:v>
                </c:pt>
                <c:pt idx="1">
                  <c:v>6.5559309181143974E-4</c:v>
                </c:pt>
                <c:pt idx="2">
                  <c:v>1.4660797092587077E-3</c:v>
                </c:pt>
                <c:pt idx="3">
                  <c:v>2.6027221922172144E-3</c:v>
                </c:pt>
                <c:pt idx="4">
                  <c:v>3.8762748240998295E-3</c:v>
                </c:pt>
                <c:pt idx="5">
                  <c:v>4.2396985904385245E-3</c:v>
                </c:pt>
                <c:pt idx="6">
                  <c:v>1.9716001690275955E-2</c:v>
                </c:pt>
                <c:pt idx="7">
                  <c:v>0.10347946000635207</c:v>
                </c:pt>
                <c:pt idx="8">
                  <c:v>6.4769265773821855E-3</c:v>
                </c:pt>
                <c:pt idx="9">
                  <c:v>1.126029109060779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3.8578224882709719E-5</c:v>
                </c:pt>
                <c:pt idx="5">
                  <c:v>1.2985707944666272E-3</c:v>
                </c:pt>
                <c:pt idx="6">
                  <c:v>1.7245101921208505E-3</c:v>
                </c:pt>
                <c:pt idx="7">
                  <c:v>3.5791279967986884E-3</c:v>
                </c:pt>
                <c:pt idx="8">
                  <c:v>1.0563154350524996E-2</c:v>
                </c:pt>
                <c:pt idx="9">
                  <c:v>1.0917745531189072E-3</c:v>
                </c:pt>
                <c:pt idx="10">
                  <c:v>1.2063632127842703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1502995667736095E-4</c:v>
                </c:pt>
                <c:pt idx="1">
                  <c:v>1.5781766020985556E-3</c:v>
                </c:pt>
                <c:pt idx="2">
                  <c:v>3.8052184184606233E-3</c:v>
                </c:pt>
                <c:pt idx="3">
                  <c:v>5.6842165206550822E-3</c:v>
                </c:pt>
                <c:pt idx="4">
                  <c:v>1.2580236671919459E-2</c:v>
                </c:pt>
                <c:pt idx="5">
                  <c:v>1.7576204074262958E-2</c:v>
                </c:pt>
                <c:pt idx="6">
                  <c:v>3.4002858493369002E-2</c:v>
                </c:pt>
                <c:pt idx="7">
                  <c:v>5.9833767044558027E-2</c:v>
                </c:pt>
                <c:pt idx="8">
                  <c:v>0.11951105033809074</c:v>
                </c:pt>
                <c:pt idx="9">
                  <c:v>7.3471425974962631E-2</c:v>
                </c:pt>
                <c:pt idx="10">
                  <c:v>6.815649476340042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5062923028144014E-5</c:v>
                </c:pt>
                <c:pt idx="1">
                  <c:v>1.7318678425585544E-4</c:v>
                </c:pt>
                <c:pt idx="2">
                  <c:v>4.4434658759852217E-4</c:v>
                </c:pt>
                <c:pt idx="3">
                  <c:v>3.6199297790536205E-4</c:v>
                </c:pt>
                <c:pt idx="4">
                  <c:v>6.7681487094520645E-4</c:v>
                </c:pt>
                <c:pt idx="5">
                  <c:v>2.4494142212550325E-2</c:v>
                </c:pt>
                <c:pt idx="6">
                  <c:v>1.0852360961741908E-2</c:v>
                </c:pt>
                <c:pt idx="7">
                  <c:v>3.7302325949508872E-3</c:v>
                </c:pt>
                <c:pt idx="8">
                  <c:v>1.5001710020805755E-3</c:v>
                </c:pt>
                <c:pt idx="10">
                  <c:v>1.0270438518900948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6.5174421652564193E-5</c:v>
                </c:pt>
                <c:pt idx="2">
                  <c:v>1.4591216823912765E-4</c:v>
                </c:pt>
                <c:pt idx="3">
                  <c:v>4.7300146694355001E-8</c:v>
                </c:pt>
                <c:pt idx="4">
                  <c:v>5.9666567332679705E-3</c:v>
                </c:pt>
                <c:pt idx="5">
                  <c:v>5.7075510344521702E-7</c:v>
                </c:pt>
                <c:pt idx="6">
                  <c:v>1.4161758745822069E-2</c:v>
                </c:pt>
                <c:pt idx="7">
                  <c:v>4.1118891447922672E-3</c:v>
                </c:pt>
                <c:pt idx="8">
                  <c:v>2.076204306371536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8272981634262327E-2</c:v>
                </c:pt>
                <c:pt idx="1">
                  <c:v>1.4501836664808761E-2</c:v>
                </c:pt>
                <c:pt idx="2">
                  <c:v>1.6875508710684536E-2</c:v>
                </c:pt>
                <c:pt idx="3">
                  <c:v>3.3402679770575573E-2</c:v>
                </c:pt>
                <c:pt idx="4">
                  <c:v>3.2307355454066655E-2</c:v>
                </c:pt>
                <c:pt idx="5">
                  <c:v>5.9108133917448367E-2</c:v>
                </c:pt>
                <c:pt idx="6">
                  <c:v>7.0001642853471255E-2</c:v>
                </c:pt>
                <c:pt idx="7">
                  <c:v>0.10659547612283854</c:v>
                </c:pt>
                <c:pt idx="8">
                  <c:v>0.10404069767147871</c:v>
                </c:pt>
                <c:pt idx="9">
                  <c:v>2.8895378968044415E-2</c:v>
                </c:pt>
                <c:pt idx="10">
                  <c:v>1.347464325435959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2E-3</c:v>
                </c:pt>
                <c:pt idx="5">
                  <c:v>3.1899999999999998E-2</c:v>
                </c:pt>
                <c:pt idx="6">
                  <c:v>0.1206</c:v>
                </c:pt>
                <c:pt idx="7">
                  <c:v>0.35149999999999998</c:v>
                </c:pt>
                <c:pt idx="8">
                  <c:v>0.4209</c:v>
                </c:pt>
                <c:pt idx="9">
                  <c:v>6.5299999999999997E-2</c:v>
                </c:pt>
                <c:pt idx="10">
                  <c:v>7.7999999999999996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86739615292647E-2</c:v>
                </c:pt>
                <c:pt idx="1">
                  <c:v>2.2440013185811045E-2</c:v>
                </c:pt>
                <c:pt idx="2">
                  <c:v>2.5308299426034547E-2</c:v>
                </c:pt>
                <c:pt idx="3">
                  <c:v>5.3762350004310379E-2</c:v>
                </c:pt>
                <c:pt idx="4">
                  <c:v>6.0479768899024261E-2</c:v>
                </c:pt>
                <c:pt idx="5">
                  <c:v>0.11906086687087766</c:v>
                </c:pt>
                <c:pt idx="6">
                  <c:v>0.13389055283916435</c:v>
                </c:pt>
                <c:pt idx="7">
                  <c:v>0.18936383046379762</c:v>
                </c:pt>
                <c:pt idx="8">
                  <c:v>0.20795372780999541</c:v>
                </c:pt>
                <c:pt idx="9">
                  <c:v>0.13703616353638809</c:v>
                </c:pt>
                <c:pt idx="10">
                  <c:v>2.67176873493040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4.171911535281731E-5</c:v>
                </c:pt>
                <c:pt idx="5">
                  <c:v>6.502139779190402E-4</c:v>
                </c:pt>
                <c:pt idx="6">
                  <c:v>2.4618690465788855E-3</c:v>
                </c:pt>
                <c:pt idx="7">
                  <c:v>7.1745509500708649E-3</c:v>
                </c:pt>
                <c:pt idx="8">
                  <c:v>8.5914969433410551E-3</c:v>
                </c:pt>
                <c:pt idx="9">
                  <c:v>1.333507762564556E-3</c:v>
                </c:pt>
                <c:pt idx="10">
                  <c:v>1.5965495343372898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5391047572087941E-3</c:v>
                </c:pt>
                <c:pt idx="1">
                  <c:v>2.1760974128159269E-3</c:v>
                </c:pt>
                <c:pt idx="2">
                  <c:v>4.6734883283602981E-3</c:v>
                </c:pt>
                <c:pt idx="3">
                  <c:v>7.4046321693773025E-3</c:v>
                </c:pt>
                <c:pt idx="4">
                  <c:v>1.024889265131663E-2</c:v>
                </c:pt>
                <c:pt idx="5">
                  <c:v>3.3528355125194316E-2</c:v>
                </c:pt>
                <c:pt idx="6">
                  <c:v>3.4686229188508416E-2</c:v>
                </c:pt>
                <c:pt idx="7">
                  <c:v>5.1855161672868022E-2</c:v>
                </c:pt>
                <c:pt idx="8">
                  <c:v>8.3091045777973854E-2</c:v>
                </c:pt>
                <c:pt idx="9">
                  <c:v>0.10231532411148089</c:v>
                </c:pt>
                <c:pt idx="10">
                  <c:v>1.748888636423203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4.3726562065839961E-8</c:v>
                </c:pt>
                <c:pt idx="1">
                  <c:v>2.3666272942101448E-4</c:v>
                </c:pt>
                <c:pt idx="2">
                  <c:v>1.1425048392716256E-3</c:v>
                </c:pt>
                <c:pt idx="3">
                  <c:v>5.9962499570353405E-4</c:v>
                </c:pt>
                <c:pt idx="4">
                  <c:v>5.4016415905433594E-3</c:v>
                </c:pt>
                <c:pt idx="5">
                  <c:v>2.2037382977450795E-2</c:v>
                </c:pt>
                <c:pt idx="6">
                  <c:v>8.5982374591358716E-3</c:v>
                </c:pt>
                <c:pt idx="7">
                  <c:v>3.8348711700202424E-3</c:v>
                </c:pt>
                <c:pt idx="8">
                  <c:v>1.2438550598562307E-3</c:v>
                </c:pt>
                <c:pt idx="9">
                  <c:v>6.6649880967022722E-7</c:v>
                </c:pt>
                <c:pt idx="10">
                  <c:v>8.0390621834379105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Vache Qui Ri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7415229367946326E-6</c:v>
                </c:pt>
                <c:pt idx="1">
                  <c:v>6.426479576343146E-7</c:v>
                </c:pt>
                <c:pt idx="2">
                  <c:v>4.4561341887096903E-6</c:v>
                </c:pt>
                <c:pt idx="3">
                  <c:v>1.687721138806102E-2</c:v>
                </c:pt>
                <c:pt idx="4">
                  <c:v>4.1377809660183397E-3</c:v>
                </c:pt>
                <c:pt idx="5">
                  <c:v>5.7693051247716251E-3</c:v>
                </c:pt>
                <c:pt idx="6">
                  <c:v>2.8979991016709087E-3</c:v>
                </c:pt>
                <c:pt idx="7">
                  <c:v>6.704058442431768E-3</c:v>
                </c:pt>
                <c:pt idx="8">
                  <c:v>2.0856655822744283E-3</c:v>
                </c:pt>
                <c:pt idx="9">
                  <c:v>1.8707747056201961E-3</c:v>
                </c:pt>
                <c:pt idx="10">
                  <c:v>2.1420715222920265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444849608584994E-2</c:v>
                </c:pt>
                <c:pt idx="1">
                  <c:v>2.0026610395616467E-2</c:v>
                </c:pt>
                <c:pt idx="2">
                  <c:v>1.9487850124213914E-2</c:v>
                </c:pt>
                <c:pt idx="3">
                  <c:v>2.888088145116852E-2</c:v>
                </c:pt>
                <c:pt idx="4">
                  <c:v>4.0649734575793114E-2</c:v>
                </c:pt>
                <c:pt idx="5">
                  <c:v>5.7075609665541885E-2</c:v>
                </c:pt>
                <c:pt idx="6">
                  <c:v>8.5246218043270275E-2</c:v>
                </c:pt>
                <c:pt idx="7">
                  <c:v>0.11979518822840668</c:v>
                </c:pt>
                <c:pt idx="8">
                  <c:v>0.11294166444654986</c:v>
                </c:pt>
                <c:pt idx="9">
                  <c:v>3.1515890457912775E-2</c:v>
                </c:pt>
                <c:pt idx="10">
                  <c:v>9.039686254231902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1.1000000000000001E-3</c:v>
                </c:pt>
                <c:pt idx="5">
                  <c:v>0.114</c:v>
                </c:pt>
                <c:pt idx="6">
                  <c:v>0.109</c:v>
                </c:pt>
                <c:pt idx="7">
                  <c:v>0.1067</c:v>
                </c:pt>
                <c:pt idx="8">
                  <c:v>0.59550000000000003</c:v>
                </c:pt>
                <c:pt idx="9">
                  <c:v>6.8500000000000005E-2</c:v>
                </c:pt>
                <c:pt idx="10">
                  <c:v>5.0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52188913803921E-2</c:v>
                </c:pt>
                <c:pt idx="1">
                  <c:v>1.0611634200708155E-2</c:v>
                </c:pt>
                <c:pt idx="2">
                  <c:v>1.7191212706328902E-2</c:v>
                </c:pt>
                <c:pt idx="3">
                  <c:v>6.6578812746713373E-2</c:v>
                </c:pt>
                <c:pt idx="4">
                  <c:v>4.927328215654455E-2</c:v>
                </c:pt>
                <c:pt idx="5">
                  <c:v>0.11854085069659605</c:v>
                </c:pt>
                <c:pt idx="6">
                  <c:v>0.13211262069559299</c:v>
                </c:pt>
                <c:pt idx="7">
                  <c:v>0.17977269388689268</c:v>
                </c:pt>
                <c:pt idx="8">
                  <c:v>0.23087809969636761</c:v>
                </c:pt>
                <c:pt idx="9">
                  <c:v>0.10988083240827315</c:v>
                </c:pt>
                <c:pt idx="10">
                  <c:v>6.863807166794330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3.0752413139007549E-5</c:v>
                </c:pt>
                <c:pt idx="5">
                  <c:v>3.1330253190040382E-3</c:v>
                </c:pt>
                <c:pt idx="6">
                  <c:v>2.9960886675650176E-3</c:v>
                </c:pt>
                <c:pt idx="7">
                  <c:v>2.9308664975152381E-3</c:v>
                </c:pt>
                <c:pt idx="8">
                  <c:v>1.6362206793792789E-2</c:v>
                </c:pt>
                <c:pt idx="9">
                  <c:v>1.8833023310977695E-3</c:v>
                </c:pt>
                <c:pt idx="10">
                  <c:v>1.3844410562523186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4149108069524487E-5</c:v>
                </c:pt>
                <c:pt idx="1">
                  <c:v>2.1327781747590665E-4</c:v>
                </c:pt>
                <c:pt idx="2">
                  <c:v>2.8495578613399373E-3</c:v>
                </c:pt>
                <c:pt idx="3">
                  <c:v>1.9948897581279674E-2</c:v>
                </c:pt>
                <c:pt idx="4">
                  <c:v>8.8411875055026644E-3</c:v>
                </c:pt>
                <c:pt idx="5">
                  <c:v>1.5400350178303924E-2</c:v>
                </c:pt>
                <c:pt idx="6">
                  <c:v>2.5090493457164603E-2</c:v>
                </c:pt>
                <c:pt idx="7">
                  <c:v>5.3895054972498725E-2</c:v>
                </c:pt>
                <c:pt idx="8">
                  <c:v>7.1219179236332295E-2</c:v>
                </c:pt>
                <c:pt idx="9">
                  <c:v>7.5303100396673095E-2</c:v>
                </c:pt>
                <c:pt idx="10">
                  <c:v>5.741957327233792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9284787648484429E-7</c:v>
                </c:pt>
                <c:pt idx="1">
                  <c:v>1.3620987421890945E-5</c:v>
                </c:pt>
                <c:pt idx="2">
                  <c:v>8.0619936517678981E-4</c:v>
                </c:pt>
                <c:pt idx="3">
                  <c:v>9.2597677167495745E-4</c:v>
                </c:pt>
                <c:pt idx="4">
                  <c:v>4.3676981068689631E-3</c:v>
                </c:pt>
                <c:pt idx="5">
                  <c:v>2.6284456288494407E-2</c:v>
                </c:pt>
                <c:pt idx="6">
                  <c:v>1.0780449943847505E-2</c:v>
                </c:pt>
                <c:pt idx="7">
                  <c:v>7.2712739458988809E-3</c:v>
                </c:pt>
                <c:pt idx="8">
                  <c:v>6.8412861142186007E-4</c:v>
                </c:pt>
                <c:pt idx="9">
                  <c:v>2.7958319854991877E-6</c:v>
                </c:pt>
                <c:pt idx="10">
                  <c:v>1.58221835000265E-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3.5985382993955874E-4</c:v>
                </c:pt>
                <c:pt idx="4">
                  <c:v>7.2635871466402418E-3</c:v>
                </c:pt>
                <c:pt idx="5">
                  <c:v>2.5096938823564012E-4</c:v>
                </c:pt>
                <c:pt idx="6">
                  <c:v>2.1362992191333415E-2</c:v>
                </c:pt>
                <c:pt idx="7">
                  <c:v>4.4676734421713283E-3</c:v>
                </c:pt>
                <c:pt idx="8">
                  <c:v>2.387589919403135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64769471820932E-2</c:v>
                </c:pt>
                <c:pt idx="1">
                  <c:v>1.0384735395810359E-2</c:v>
                </c:pt>
                <c:pt idx="2">
                  <c:v>1.3535455479812174E-2</c:v>
                </c:pt>
                <c:pt idx="3">
                  <c:v>4.5344084563819186E-2</c:v>
                </c:pt>
                <c:pt idx="4">
                  <c:v>2.8770056984393676E-2</c:v>
                </c:pt>
                <c:pt idx="5">
                  <c:v>7.347204952255805E-2</c:v>
                </c:pt>
                <c:pt idx="6">
                  <c:v>7.1882596435682469E-2</c:v>
                </c:pt>
                <c:pt idx="7">
                  <c:v>0.11120782502880851</c:v>
                </c:pt>
                <c:pt idx="8">
                  <c:v>0.1187366858607893</c:v>
                </c:pt>
                <c:pt idx="9">
                  <c:v>3.2691633848516782E-2</c:v>
                </c:pt>
                <c:pt idx="10">
                  <c:v>1.10798960681451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0.96799999999999997</c:v>
                </c:pt>
                <c:pt idx="6">
                  <c:v>3.20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0195170591014295E-2</c:v>
                </c:pt>
                <c:pt idx="1">
                  <c:v>6.5559309181143974E-4</c:v>
                </c:pt>
                <c:pt idx="2">
                  <c:v>1.8509581616242188E-3</c:v>
                </c:pt>
                <c:pt idx="3">
                  <c:v>0.14860049297530936</c:v>
                </c:pt>
                <c:pt idx="4">
                  <c:v>0.35490978902863579</c:v>
                </c:pt>
                <c:pt idx="5">
                  <c:v>9.2347322437613608E-2</c:v>
                </c:pt>
                <c:pt idx="6">
                  <c:v>2.4790528801785797E-2</c:v>
                </c:pt>
                <c:pt idx="7">
                  <c:v>0.12812039009766801</c:v>
                </c:pt>
                <c:pt idx="8">
                  <c:v>0.22102038676692065</c:v>
                </c:pt>
                <c:pt idx="9">
                  <c:v>7.438768929166038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5">
                  <c:v>8.4379100484128458E-2</c:v>
                </c:pt>
                <c:pt idx="6">
                  <c:v>2.791801703843977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8.139294344834435E-6</c:v>
                </c:pt>
                <c:pt idx="3">
                  <c:v>0.14599777078309215</c:v>
                </c:pt>
                <c:pt idx="4">
                  <c:v>0.3510318236626534</c:v>
                </c:pt>
                <c:pt idx="5">
                  <c:v>3.7263721959881675E-3</c:v>
                </c:pt>
                <c:pt idx="6">
                  <c:v>1.0554014983310694E-3</c:v>
                </c:pt>
                <c:pt idx="7">
                  <c:v>2.148157798940302E-2</c:v>
                </c:pt>
                <c:pt idx="8">
                  <c:v>7.4162946944252003E-2</c:v>
                </c:pt>
                <c:pt idx="9">
                  <c:v>6.312739820105259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3.7673915802067669E-4</c:v>
                </c:pt>
                <c:pt idx="4">
                  <c:v>1.6905418825910495E-6</c:v>
                </c:pt>
                <c:pt idx="5">
                  <c:v>2.1511670584655771E-6</c:v>
                </c:pt>
                <c:pt idx="6">
                  <c:v>1.2273239093347952E-3</c:v>
                </c:pt>
                <c:pt idx="7">
                  <c:v>3.1593521019129306E-3</c:v>
                </c:pt>
                <c:pt idx="8">
                  <c:v>0.1403805132452864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7">
                  <c:v>4.841081797505316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0195170591014295E-2</c:v>
                </c:pt>
                <c:pt idx="1">
                  <c:v>6.5559309181143974E-4</c:v>
                </c:pt>
                <c:pt idx="2">
                  <c:v>1.4660797092587077E-3</c:v>
                </c:pt>
                <c:pt idx="3">
                  <c:v>2.6027221922172144E-3</c:v>
                </c:pt>
                <c:pt idx="4">
                  <c:v>3.8762748240998295E-3</c:v>
                </c:pt>
                <c:pt idx="5">
                  <c:v>4.2396985904385245E-3</c:v>
                </c:pt>
                <c:pt idx="6">
                  <c:v>1.9716001690275955E-2</c:v>
                </c:pt>
                <c:pt idx="7">
                  <c:v>5.5068642031298902E-2</c:v>
                </c:pt>
                <c:pt idx="8">
                  <c:v>6.4769265773821855E-3</c:v>
                </c:pt>
                <c:pt idx="9">
                  <c:v>1.126029109060779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2.7799999999999998E-2</c:v>
                </c:pt>
                <c:pt idx="5">
                  <c:v>0.67110000000000003</c:v>
                </c:pt>
                <c:pt idx="6">
                  <c:v>0.3010999999999999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5229844271682886E-2</c:v>
                </c:pt>
                <c:pt idx="1">
                  <c:v>1.2590592051960471E-3</c:v>
                </c:pt>
                <c:pt idx="2">
                  <c:v>3.2731555461713205E-2</c:v>
                </c:pt>
                <c:pt idx="3">
                  <c:v>0.14152197984434281</c:v>
                </c:pt>
                <c:pt idx="4">
                  <c:v>0.32430501393489058</c:v>
                </c:pt>
                <c:pt idx="5">
                  <c:v>7.9996151681788266E-2</c:v>
                </c:pt>
                <c:pt idx="6">
                  <c:v>9.6445642492324651E-2</c:v>
                </c:pt>
                <c:pt idx="7">
                  <c:v>0.11128880451125545</c:v>
                </c:pt>
                <c:pt idx="8">
                  <c:v>0.17753774739433337</c:v>
                </c:pt>
                <c:pt idx="9">
                  <c:v>9.291375765223822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2.6462490913729043E-3</c:v>
                </c:pt>
                <c:pt idx="5">
                  <c:v>6.3878383003740671E-2</c:v>
                </c:pt>
                <c:pt idx="6">
                  <c:v>2.866358095839938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7.6306696888571608E-4</c:v>
                </c:pt>
                <c:pt idx="1">
                  <c:v>1.1067148522188636E-3</c:v>
                </c:pt>
                <c:pt idx="2">
                  <c:v>3.1917241394296705E-2</c:v>
                </c:pt>
                <c:pt idx="3">
                  <c:v>0.13974770750722393</c:v>
                </c:pt>
                <c:pt idx="4">
                  <c:v>0.31695016280460753</c:v>
                </c:pt>
                <c:pt idx="5">
                  <c:v>1.0432005279822222E-2</c:v>
                </c:pt>
                <c:pt idx="6">
                  <c:v>4.9663120821023532E-3</c:v>
                </c:pt>
                <c:pt idx="7">
                  <c:v>3.5720986788880867E-2</c:v>
                </c:pt>
                <c:pt idx="8">
                  <c:v>6.5527654846109049E-2</c:v>
                </c:pt>
                <c:pt idx="9">
                  <c:v>4.364436769423264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8.0194853834143125E-7</c:v>
                </c:pt>
                <c:pt idx="6">
                  <c:v>2.8578858975719765E-3</c:v>
                </c:pt>
                <c:pt idx="7">
                  <c:v>3.9156353241981738E-2</c:v>
                </c:pt>
                <c:pt idx="8">
                  <c:v>0.1058370807396873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6">
                  <c:v>5.486789618139786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4466777302797171E-2</c:v>
                </c:pt>
                <c:pt idx="1">
                  <c:v>1.5234435297718351E-4</c:v>
                </c:pt>
                <c:pt idx="2">
                  <c:v>8.143140674165023E-4</c:v>
                </c:pt>
                <c:pt idx="3">
                  <c:v>1.7742723371188839E-3</c:v>
                </c:pt>
                <c:pt idx="4">
                  <c:v>4.7086020389101807E-3</c:v>
                </c:pt>
                <c:pt idx="5">
                  <c:v>5.6849614496870295E-3</c:v>
                </c:pt>
                <c:pt idx="6">
                  <c:v>5.0899673728530643E-3</c:v>
                </c:pt>
                <c:pt idx="7">
                  <c:v>3.6411464480392841E-2</c:v>
                </c:pt>
                <c:pt idx="8">
                  <c:v>6.1730118085370107E-3</c:v>
                </c:pt>
                <c:pt idx="9">
                  <c:v>4.92693899580055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0.8659</c:v>
                </c:pt>
                <c:pt idx="6">
                  <c:v>0.134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0096130298614627E-3</c:v>
                </c:pt>
                <c:pt idx="3">
                  <c:v>0.26864620226306141</c:v>
                </c:pt>
                <c:pt idx="4">
                  <c:v>0.24445258049451576</c:v>
                </c:pt>
                <c:pt idx="5">
                  <c:v>9.7099623144768832E-2</c:v>
                </c:pt>
                <c:pt idx="6">
                  <c:v>2.9819821017562358E-2</c:v>
                </c:pt>
                <c:pt idx="7">
                  <c:v>0.16448722706132768</c:v>
                </c:pt>
                <c:pt idx="8">
                  <c:v>0.1922824145702286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5">
                  <c:v>9.709188742891893E-2</c:v>
                </c:pt>
                <c:pt idx="6">
                  <c:v>1.503311817291936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3.0064925207559088E-3</c:v>
                </c:pt>
                <c:pt idx="3">
                  <c:v>0.26852109344841774</c:v>
                </c:pt>
                <c:pt idx="4">
                  <c:v>0.24392545046056749</c:v>
                </c:pt>
                <c:pt idx="5">
                  <c:v>2.5698310281031214E-6</c:v>
                </c:pt>
                <c:pt idx="6">
                  <c:v>6.3813100070295365E-4</c:v>
                </c:pt>
                <c:pt idx="7">
                  <c:v>2.9943015570317748E-2</c:v>
                </c:pt>
                <c:pt idx="8">
                  <c:v>6.419610978454511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2.5776978577809882E-5</c:v>
                </c:pt>
                <c:pt idx="6">
                  <c:v>8.9463160462635669E-3</c:v>
                </c:pt>
                <c:pt idx="7">
                  <c:v>6.4434317387190906E-3</c:v>
                </c:pt>
                <c:pt idx="8">
                  <c:v>0.1086332345810203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6">
                  <c:v>4.0914332243960983E-3</c:v>
                </c:pt>
                <c:pt idx="7">
                  <c:v>6.588488211149275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2">
                  <c:v>3.1205091055537905E-6</c:v>
                </c:pt>
                <c:pt idx="3">
                  <c:v>1.251088146436734E-4</c:v>
                </c:pt>
                <c:pt idx="4">
                  <c:v>5.0135305537044462E-4</c:v>
                </c:pt>
                <c:pt idx="5">
                  <c:v>5.1658848217991322E-6</c:v>
                </c:pt>
                <c:pt idx="6">
                  <c:v>1.1108225732803707E-3</c:v>
                </c:pt>
                <c:pt idx="7">
                  <c:v>6.2215897640798087E-2</c:v>
                </c:pt>
                <c:pt idx="8">
                  <c:v>1.945307020466317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0.98280000000000001</c:v>
                </c:pt>
                <c:pt idx="8">
                  <c:v>1.72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0597465735164769E-3</c:v>
                </c:pt>
                <c:pt idx="2">
                  <c:v>2.9168365172154057E-2</c:v>
                </c:pt>
                <c:pt idx="3">
                  <c:v>3.1453681444016668E-3</c:v>
                </c:pt>
                <c:pt idx="4">
                  <c:v>1.5735665051344716E-2</c:v>
                </c:pt>
                <c:pt idx="5">
                  <c:v>1.4067589267378135E-2</c:v>
                </c:pt>
                <c:pt idx="6">
                  <c:v>3.4514891105569899E-2</c:v>
                </c:pt>
                <c:pt idx="7">
                  <c:v>0.16517909111599685</c:v>
                </c:pt>
                <c:pt idx="8">
                  <c:v>0.21716158558225279</c:v>
                </c:pt>
                <c:pt idx="9">
                  <c:v>0.21383677043095903</c:v>
                </c:pt>
                <c:pt idx="10">
                  <c:v>0.3029403576247336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3.4870333667960441E-7</c:v>
                </c:pt>
                <c:pt idx="6">
                  <c:v>6.1912633247195071E-7</c:v>
                </c:pt>
                <c:pt idx="7">
                  <c:v>1.8132566390944804E-2</c:v>
                </c:pt>
                <c:pt idx="8">
                  <c:v>3.1723463964292663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060342799291042E-6</c:v>
                </c:pt>
                <c:pt idx="4">
                  <c:v>1.0888083777954995E-6</c:v>
                </c:pt>
                <c:pt idx="6">
                  <c:v>1.6528822814398294E-3</c:v>
                </c:pt>
                <c:pt idx="7">
                  <c:v>2.7908435969179008E-3</c:v>
                </c:pt>
                <c:pt idx="8">
                  <c:v>0.20811155267390913</c:v>
                </c:pt>
                <c:pt idx="9">
                  <c:v>3.6608107420895188E-2</c:v>
                </c:pt>
                <c:pt idx="10">
                  <c:v>0.3005643998345182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6011887908757345E-6</c:v>
                </c:pt>
                <c:pt idx="2">
                  <c:v>4.4121646681909131E-7</c:v>
                </c:pt>
                <c:pt idx="6">
                  <c:v>2.8136900702255784E-2</c:v>
                </c:pt>
                <c:pt idx="7">
                  <c:v>7.4357969195604168E-2</c:v>
                </c:pt>
                <c:pt idx="8">
                  <c:v>7.8280340887258131E-8</c:v>
                </c:pt>
                <c:pt idx="9">
                  <c:v>0.1409115449654304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Vache Qui Ri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1172739562999571E-6</c:v>
                </c:pt>
                <c:pt idx="6">
                  <c:v>4.8993530442947028E-4</c:v>
                </c:pt>
                <c:pt idx="7">
                  <c:v>5.8924672635528429E-3</c:v>
                </c:pt>
                <c:pt idx="9">
                  <c:v>3.561472989503588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0556190646333307E-3</c:v>
                </c:pt>
                <c:pt idx="2">
                  <c:v>2.9167923955687236E-2</c:v>
                </c:pt>
                <c:pt idx="3">
                  <c:v>3.1453681444016668E-3</c:v>
                </c:pt>
                <c:pt idx="4">
                  <c:v>1.5734576242966921E-2</c:v>
                </c:pt>
                <c:pt idx="5">
                  <c:v>1.4067589267378132E-2</c:v>
                </c:pt>
                <c:pt idx="6">
                  <c:v>4.2345536911123508E-3</c:v>
                </c:pt>
                <c:pt idx="7">
                  <c:v>6.4005244668977126E-2</c:v>
                </c:pt>
                <c:pt idx="8">
                  <c:v>8.7327199883598557E-3</c:v>
                </c:pt>
                <c:pt idx="9">
                  <c:v>7.0238814959748888E-4</c:v>
                </c:pt>
                <c:pt idx="10">
                  <c:v>2.375957790215432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0.2092</c:v>
                </c:pt>
                <c:pt idx="7">
                  <c:v>0.79069999999999996</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5229844271682886E-2</c:v>
                </c:pt>
                <c:pt idx="1">
                  <c:v>1.2590592051960471E-3</c:v>
                </c:pt>
                <c:pt idx="2">
                  <c:v>3.2731555461713205E-2</c:v>
                </c:pt>
                <c:pt idx="3">
                  <c:v>0.14152197984434281</c:v>
                </c:pt>
                <c:pt idx="4">
                  <c:v>0.32430501393489058</c:v>
                </c:pt>
                <c:pt idx="5">
                  <c:v>7.9996151681788266E-2</c:v>
                </c:pt>
                <c:pt idx="6">
                  <c:v>9.6445642492324651E-2</c:v>
                </c:pt>
                <c:pt idx="7">
                  <c:v>0.11128880451125545</c:v>
                </c:pt>
                <c:pt idx="8">
                  <c:v>0.17753774739433337</c:v>
                </c:pt>
                <c:pt idx="9">
                  <c:v>9.291375765223822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070636178401637E-3</c:v>
                </c:pt>
                <c:pt idx="1">
                  <c:v>2.8111852108087237E-3</c:v>
                </c:pt>
                <c:pt idx="2">
                  <c:v>1.1733795016715527E-2</c:v>
                </c:pt>
                <c:pt idx="3">
                  <c:v>7.5748521230272065E-3</c:v>
                </c:pt>
                <c:pt idx="4">
                  <c:v>1.9009215663064603E-2</c:v>
                </c:pt>
                <c:pt idx="5">
                  <c:v>1.1686734111054545E-2</c:v>
                </c:pt>
                <c:pt idx="6">
                  <c:v>4.4282416000018393E-2</c:v>
                </c:pt>
                <c:pt idx="7">
                  <c:v>0.13481352044305056</c:v>
                </c:pt>
                <c:pt idx="8">
                  <c:v>0.11237839726299749</c:v>
                </c:pt>
                <c:pt idx="9">
                  <c:v>0.48396240184152367</c:v>
                </c:pt>
                <c:pt idx="10">
                  <c:v>0.1653404187098991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8156097404007821E-6</c:v>
                </c:pt>
                <c:pt idx="6">
                  <c:v>4.5803649719760638E-3</c:v>
                </c:pt>
                <c:pt idx="7">
                  <c:v>1.731393129222696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7">
                  <c:v>2.7049562776030312E-2</c:v>
                </c:pt>
                <c:pt idx="8">
                  <c:v>4.2746587078764671E-2</c:v>
                </c:pt>
                <c:pt idx="9">
                  <c:v>0.27813644559724826</c:v>
                </c:pt>
                <c:pt idx="10">
                  <c:v>0.1628828510979154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2928820236534203E-5</c:v>
                </c:pt>
                <c:pt idx="2">
                  <c:v>4.7118367084257985E-6</c:v>
                </c:pt>
                <c:pt idx="4">
                  <c:v>3.4187823005025577E-3</c:v>
                </c:pt>
                <c:pt idx="5">
                  <c:v>3.8619822582109498E-4</c:v>
                </c:pt>
                <c:pt idx="6">
                  <c:v>2.2537117206363508E-2</c:v>
                </c:pt>
                <c:pt idx="7">
                  <c:v>5.0549503590764343E-2</c:v>
                </c:pt>
                <c:pt idx="8">
                  <c:v>6.4183490413710756E-2</c:v>
                </c:pt>
                <c:pt idx="9">
                  <c:v>0.1155602086539201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Vache Qui Ri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7">
                  <c:v>5.3117914288242588E-3</c:v>
                </c:pt>
                <c:pt idx="8">
                  <c:v>1.1739368774773056E-4</c:v>
                </c:pt>
                <c:pt idx="9">
                  <c:v>9.02657475903552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6.3913191878632279E-3</c:v>
                </c:pt>
                <c:pt idx="1">
                  <c:v>2.8111852108087237E-3</c:v>
                </c:pt>
                <c:pt idx="2">
                  <c:v>1.1729083180007101E-2</c:v>
                </c:pt>
                <c:pt idx="3">
                  <c:v>7.5748521230272056E-3</c:v>
                </c:pt>
                <c:pt idx="4">
                  <c:v>1.5590433362562044E-2</c:v>
                </c:pt>
                <c:pt idx="5">
                  <c:v>1.1300535885233449E-2</c:v>
                </c:pt>
                <c:pt idx="6">
                  <c:v>1.7164933821678816E-2</c:v>
                </c:pt>
                <c:pt idx="7">
                  <c:v>3.4588731355204683E-2</c:v>
                </c:pt>
                <c:pt idx="8">
                  <c:v>5.3309260827743296E-3</c:v>
                </c:pt>
                <c:pt idx="10">
                  <c:v>2.457567611983694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7551825169099855E-3</c:v>
                </c:pt>
                <c:pt idx="1">
                  <c:v>1.1268512829684938E-3</c:v>
                </c:pt>
                <c:pt idx="2">
                  <c:v>3.8703371073333062E-2</c:v>
                </c:pt>
                <c:pt idx="3">
                  <c:v>1.0655250804924096E-2</c:v>
                </c:pt>
                <c:pt idx="4">
                  <c:v>8.443658709353704E-3</c:v>
                </c:pt>
                <c:pt idx="5">
                  <c:v>1.0672400633581458E-2</c:v>
                </c:pt>
                <c:pt idx="6">
                  <c:v>7.6999872366786709E-2</c:v>
                </c:pt>
                <c:pt idx="7">
                  <c:v>0.17887076019304027</c:v>
                </c:pt>
                <c:pt idx="8">
                  <c:v>0.22096490143235031</c:v>
                </c:pt>
                <c:pt idx="9">
                  <c:v>0.24223439627367618</c:v>
                </c:pt>
                <c:pt idx="10">
                  <c:v>0.2055733547130757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7">
                  <c:v>2.006187522339349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6">
                  <c:v>3.0564051072529343E-6</c:v>
                </c:pt>
                <c:pt idx="8">
                  <c:v>0.20018513890936712</c:v>
                </c:pt>
                <c:pt idx="9">
                  <c:v>5.4016300261237736E-2</c:v>
                </c:pt>
                <c:pt idx="10">
                  <c:v>0.2016702121909245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3.327519560285185E-4</c:v>
                </c:pt>
                <c:pt idx="6">
                  <c:v>6.7340471925928583E-2</c:v>
                </c:pt>
                <c:pt idx="7">
                  <c:v>9.9744563773166067E-2</c:v>
                </c:pt>
                <c:pt idx="8">
                  <c:v>1.982022111958949E-3</c:v>
                </c:pt>
                <c:pt idx="9">
                  <c:v>0.1882128605036899</c:v>
                </c:pt>
                <c:pt idx="10">
                  <c:v>3.901048318651740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3.5059513584447199E-3</c:v>
                </c:pt>
                <c:pt idx="2">
                  <c:v>2.4324966047018264E-2</c:v>
                </c:pt>
                <c:pt idx="3">
                  <c:v>8.7386301022509012E-3</c:v>
                </c:pt>
                <c:pt idx="4">
                  <c:v>4.7587378518509508E-3</c:v>
                </c:pt>
                <c:pt idx="5">
                  <c:v>3.2449683223420667E-3</c:v>
                </c:pt>
                <c:pt idx="6">
                  <c:v>7.4354978247168652E-3</c:v>
                </c:pt>
                <c:pt idx="7">
                  <c:v>1.5131356084496016E-2</c:v>
                </c:pt>
                <c:pt idx="8">
                  <c:v>4.092413238422521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492311584652656E-3</c:v>
                </c:pt>
                <c:pt idx="1">
                  <c:v>1.1268512829684938E-3</c:v>
                </c:pt>
                <c:pt idx="2">
                  <c:v>1.4378405026314798E-2</c:v>
                </c:pt>
                <c:pt idx="3">
                  <c:v>1.9166207026731941E-3</c:v>
                </c:pt>
                <c:pt idx="4">
                  <c:v>3.6849208575027528E-3</c:v>
                </c:pt>
                <c:pt idx="5">
                  <c:v>7.0946803552108736E-3</c:v>
                </c:pt>
                <c:pt idx="6">
                  <c:v>2.2208462110340187E-3</c:v>
                </c:pt>
                <c:pt idx="7">
                  <c:v>4.3932965111984704E-2</c:v>
                </c:pt>
                <c:pt idx="8">
                  <c:v>1.4705327172601706E-2</c:v>
                </c:pt>
                <c:pt idx="9">
                  <c:v>5.2355087485351191E-6</c:v>
                </c:pt>
                <c:pt idx="10">
                  <c:v>2.0942034994140474E-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452095700271858E-2</c:v>
                </c:pt>
                <c:pt idx="1">
                  <c:v>6.9038415366902443E-3</c:v>
                </c:pt>
                <c:pt idx="2">
                  <c:v>3.8993138108884502E-2</c:v>
                </c:pt>
                <c:pt idx="3">
                  <c:v>9.2885754275378318E-2</c:v>
                </c:pt>
                <c:pt idx="4">
                  <c:v>0.12661389106941554</c:v>
                </c:pt>
                <c:pt idx="5">
                  <c:v>0.14139828617238459</c:v>
                </c:pt>
                <c:pt idx="6">
                  <c:v>8.327672553420401E-2</c:v>
                </c:pt>
                <c:pt idx="7">
                  <c:v>0.25943750265456544</c:v>
                </c:pt>
                <c:pt idx="8">
                  <c:v>0.16769832304927204</c:v>
                </c:pt>
                <c:pt idx="9">
                  <c:v>5.0813195599909045E-2</c:v>
                </c:pt>
                <c:pt idx="10">
                  <c:v>3.527246299024460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8448348675945187E-2</c:v>
                </c:pt>
                <c:pt idx="1">
                  <c:v>6.9038415366902443E-3</c:v>
                </c:pt>
                <c:pt idx="2">
                  <c:v>1.7361982186284391E-3</c:v>
                </c:pt>
                <c:pt idx="3">
                  <c:v>1.8755435712991535E-3</c:v>
                </c:pt>
                <c:pt idx="4">
                  <c:v>0.10477416679766324</c:v>
                </c:pt>
                <c:pt idx="5">
                  <c:v>5.0671865007636957E-3</c:v>
                </c:pt>
                <c:pt idx="6">
                  <c:v>2.6783593228682716E-2</c:v>
                </c:pt>
                <c:pt idx="7">
                  <c:v>6.6655607066131453E-2</c:v>
                </c:pt>
                <c:pt idx="8">
                  <c:v>4.4421204234486155E-3</c:v>
                </c:pt>
                <c:pt idx="10">
                  <c:v>2.585926936375606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7.4054053967207621E-7</c:v>
                </c:pt>
                <c:pt idx="3">
                  <c:v>8.2060798596221757E-2</c:v>
                </c:pt>
                <c:pt idx="4">
                  <c:v>1.3735802625934962E-2</c:v>
                </c:pt>
                <c:pt idx="5">
                  <c:v>6.1588706809217263E-2</c:v>
                </c:pt>
                <c:pt idx="6">
                  <c:v>2.3195070431785789E-2</c:v>
                </c:pt>
                <c:pt idx="7">
                  <c:v>5.9000565638160689E-2</c:v>
                </c:pt>
                <c:pt idx="8">
                  <c:v>2.4630784631086092E-2</c:v>
                </c:pt>
                <c:pt idx="9">
                  <c:v>3.3171045320672899E-5</c:v>
                </c:pt>
                <c:pt idx="10">
                  <c:v>5.6986533599004805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9236787063778384E-3</c:v>
                </c:pt>
                <c:pt idx="5">
                  <c:v>9.3823032982912943E-3</c:v>
                </c:pt>
                <c:pt idx="6">
                  <c:v>5.4704191349204496E-3</c:v>
                </c:pt>
                <c:pt idx="7">
                  <c:v>6.9353981666997425E-2</c:v>
                </c:pt>
                <c:pt idx="8">
                  <c:v>4.7075678262511508E-2</c:v>
                </c:pt>
                <c:pt idx="9">
                  <c:v>4.8835529456781143E-2</c:v>
                </c:pt>
                <c:pt idx="10">
                  <c:v>3.2116670717878947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7470243266699317E-6</c:v>
                </c:pt>
                <c:pt idx="2">
                  <c:v>3.7256199349716392E-2</c:v>
                </c:pt>
                <c:pt idx="3">
                  <c:v>8.9494121078573987E-3</c:v>
                </c:pt>
                <c:pt idx="4">
                  <c:v>6.1802429394394939E-3</c:v>
                </c:pt>
                <c:pt idx="5">
                  <c:v>6.5360089564112323E-2</c:v>
                </c:pt>
                <c:pt idx="6">
                  <c:v>2.7827642738815061E-2</c:v>
                </c:pt>
                <c:pt idx="7">
                  <c:v>6.442734828327587E-2</c:v>
                </c:pt>
                <c:pt idx="8">
                  <c:v>9.1549739732225813E-2</c:v>
                </c:pt>
                <c:pt idx="9">
                  <c:v>1.944495097807224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613377585847987E-2</c:v>
                </c:pt>
                <c:pt idx="1">
                  <c:v>1.56302030123537E-2</c:v>
                </c:pt>
                <c:pt idx="2">
                  <c:v>3.5294981321742719E-2</c:v>
                </c:pt>
                <c:pt idx="3">
                  <c:v>0.17153808610810198</c:v>
                </c:pt>
                <c:pt idx="4">
                  <c:v>0.13353047605469773</c:v>
                </c:pt>
                <c:pt idx="5">
                  <c:v>0.12917153792881839</c:v>
                </c:pt>
                <c:pt idx="6">
                  <c:v>7.2507313656684891E-2</c:v>
                </c:pt>
                <c:pt idx="7">
                  <c:v>0.21110141717184974</c:v>
                </c:pt>
                <c:pt idx="8">
                  <c:v>0.1733531988133058</c:v>
                </c:pt>
                <c:pt idx="9">
                  <c:v>1.9940538619508948E-2</c:v>
                </c:pt>
                <c:pt idx="10">
                  <c:v>9.3188697270881003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7.6306696888571608E-4</c:v>
                </c:pt>
                <c:pt idx="1">
                  <c:v>1.1067148522188636E-3</c:v>
                </c:pt>
                <c:pt idx="2">
                  <c:v>3.1917241394296705E-2</c:v>
                </c:pt>
                <c:pt idx="3">
                  <c:v>0.13974770750722393</c:v>
                </c:pt>
                <c:pt idx="4">
                  <c:v>0.31695016280460753</c:v>
                </c:pt>
                <c:pt idx="5">
                  <c:v>1.0432005279822222E-2</c:v>
                </c:pt>
                <c:pt idx="6">
                  <c:v>4.9663120821023532E-3</c:v>
                </c:pt>
                <c:pt idx="7">
                  <c:v>3.5720986788880867E-2</c:v>
                </c:pt>
                <c:pt idx="8">
                  <c:v>6.5527654846109049E-2</c:v>
                </c:pt>
                <c:pt idx="9">
                  <c:v>4.364436769423264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8.0194853834143125E-7</c:v>
                </c:pt>
                <c:pt idx="6">
                  <c:v>2.8578858975719765E-3</c:v>
                </c:pt>
                <c:pt idx="7">
                  <c:v>3.9156353241981738E-2</c:v>
                </c:pt>
                <c:pt idx="8">
                  <c:v>0.1058370807396873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2.6462490913729043E-3</c:v>
                </c:pt>
                <c:pt idx="5">
                  <c:v>6.3878383003740671E-2</c:v>
                </c:pt>
                <c:pt idx="6">
                  <c:v>2.866358095839938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4466777302797171E-2</c:v>
                </c:pt>
                <c:pt idx="1">
                  <c:v>1.5234435297718351E-4</c:v>
                </c:pt>
                <c:pt idx="2">
                  <c:v>8.143140674165023E-4</c:v>
                </c:pt>
                <c:pt idx="3">
                  <c:v>1.7742723371188839E-3</c:v>
                </c:pt>
                <c:pt idx="4">
                  <c:v>4.7086020389101807E-3</c:v>
                </c:pt>
                <c:pt idx="5">
                  <c:v>5.6849614496870295E-3</c:v>
                </c:pt>
                <c:pt idx="6">
                  <c:v>5.9957863554250923E-2</c:v>
                </c:pt>
                <c:pt idx="7">
                  <c:v>3.6411464480392841E-2</c:v>
                </c:pt>
                <c:pt idx="8">
                  <c:v>6.1730118085370107E-3</c:v>
                </c:pt>
                <c:pt idx="9">
                  <c:v>4.92693899580055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0856614831110494E-5</c:v>
                </c:pt>
                <c:pt idx="1">
                  <c:v>5.0857004490138715E-6</c:v>
                </c:pt>
                <c:pt idx="2">
                  <c:v>3.5264351773265254E-5</c:v>
                </c:pt>
                <c:pt idx="3">
                  <c:v>0.13356059179014013</c:v>
                </c:pt>
                <c:pt idx="4">
                  <c:v>3.2745011116607166E-2</c:v>
                </c:pt>
                <c:pt idx="5">
                  <c:v>4.5656346239016515E-2</c:v>
                </c:pt>
                <c:pt idx="6">
                  <c:v>2.2933793156152984E-2</c:v>
                </c:pt>
                <c:pt idx="7">
                  <c:v>5.3053670560782258E-2</c:v>
                </c:pt>
                <c:pt idx="8">
                  <c:v>1.6505258068993306E-2</c:v>
                </c:pt>
                <c:pt idx="9">
                  <c:v>1.4804683726685523E-2</c:v>
                </c:pt>
                <c:pt idx="10">
                  <c:v>1.6951635764692421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8591776466415062E-2</c:v>
                </c:pt>
                <c:pt idx="1">
                  <c:v>1.5611160472115745E-2</c:v>
                </c:pt>
                <c:pt idx="2">
                  <c:v>4.5091497937806138E-3</c:v>
                </c:pt>
                <c:pt idx="3">
                  <c:v>2.2503123458954121E-3</c:v>
                </c:pt>
                <c:pt idx="4">
                  <c:v>9.2942297705621374E-2</c:v>
                </c:pt>
                <c:pt idx="5">
                  <c:v>5.9604618982048718E-3</c:v>
                </c:pt>
                <c:pt idx="6">
                  <c:v>3.4556862681935428E-3</c:v>
                </c:pt>
                <c:pt idx="7">
                  <c:v>3.8628411545534092E-2</c:v>
                </c:pt>
                <c:pt idx="8">
                  <c:v>4.4743153671999457E-2</c:v>
                </c:pt>
                <c:pt idx="10">
                  <c:v>4.3540936029773809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4.9284107444051948E-7</c:v>
                </c:pt>
                <c:pt idx="1">
                  <c:v>1.3956839788943221E-5</c:v>
                </c:pt>
                <c:pt idx="2">
                  <c:v>3.0743646429186058E-2</c:v>
                </c:pt>
                <c:pt idx="3">
                  <c:v>3.564450001734381E-2</c:v>
                </c:pt>
                <c:pt idx="4">
                  <c:v>6.3327037131317649E-3</c:v>
                </c:pt>
                <c:pt idx="5">
                  <c:v>2.5358413952695731E-2</c:v>
                </c:pt>
                <c:pt idx="6">
                  <c:v>1.714739853104838E-2</c:v>
                </c:pt>
                <c:pt idx="7">
                  <c:v>5.4161420006419936E-2</c:v>
                </c:pt>
                <c:pt idx="8">
                  <c:v>5.3248888056162243E-2</c:v>
                </c:pt>
                <c:pt idx="9">
                  <c:v>3.4603735013908812E-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516635273738823E-7</c:v>
                </c:pt>
                <c:pt idx="2">
                  <c:v>6.9207470027817628E-6</c:v>
                </c:pt>
                <c:pt idx="3">
                  <c:v>8.2681954722627565E-5</c:v>
                </c:pt>
                <c:pt idx="4">
                  <c:v>1.5104635193374269E-3</c:v>
                </c:pt>
                <c:pt idx="5">
                  <c:v>5.2196315838901282E-2</c:v>
                </c:pt>
                <c:pt idx="6">
                  <c:v>2.8970435701289987E-2</c:v>
                </c:pt>
                <c:pt idx="7">
                  <c:v>6.525791505911345E-2</c:v>
                </c:pt>
                <c:pt idx="8">
                  <c:v>5.8855899016150806E-2</c:v>
                </c:pt>
                <c:pt idx="9">
                  <c:v>5.1355088554732855E-3</c:v>
                </c:pt>
                <c:pt idx="10">
                  <c:v>8.71394400914343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9437627523840919E-2</c:v>
                </c:pt>
                <c:pt idx="1">
                  <c:v>1.7339094554510329E-2</c:v>
                </c:pt>
                <c:pt idx="2">
                  <c:v>4.8088716519655232E-2</c:v>
                </c:pt>
                <c:pt idx="3">
                  <c:v>0.20562364600569663</c:v>
                </c:pt>
                <c:pt idx="4">
                  <c:v>6.6748547419724566E-2</c:v>
                </c:pt>
                <c:pt idx="5">
                  <c:v>0.12200576981432011</c:v>
                </c:pt>
                <c:pt idx="6">
                  <c:v>4.6184937163428488E-2</c:v>
                </c:pt>
                <c:pt idx="7">
                  <c:v>0.2232454479683828</c:v>
                </c:pt>
                <c:pt idx="8">
                  <c:v>0.15135974545254935</c:v>
                </c:pt>
                <c:pt idx="9">
                  <c:v>8.959978013454500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4747136481628206E-2</c:v>
                </c:pt>
                <c:pt idx="2">
                  <c:v>1.3625819773384115E-3</c:v>
                </c:pt>
                <c:pt idx="3">
                  <c:v>0.12608331685803781</c:v>
                </c:pt>
                <c:pt idx="4">
                  <c:v>1.1732619958943502E-2</c:v>
                </c:pt>
                <c:pt idx="5">
                  <c:v>6.2114905007134369E-3</c:v>
                </c:pt>
                <c:pt idx="6">
                  <c:v>2.029408133441467E-3</c:v>
                </c:pt>
                <c:pt idx="7">
                  <c:v>3.6855776457379794E-2</c:v>
                </c:pt>
                <c:pt idx="8">
                  <c:v>4.412497174304146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9433076220715705E-3</c:v>
                </c:pt>
                <c:pt idx="2">
                  <c:v>1.5808316239147732E-2</c:v>
                </c:pt>
                <c:pt idx="3">
                  <c:v>7.9539672848540577E-2</c:v>
                </c:pt>
                <c:pt idx="4">
                  <c:v>4.6158947718345923E-2</c:v>
                </c:pt>
                <c:pt idx="5">
                  <c:v>3.5006207408320195E-2</c:v>
                </c:pt>
                <c:pt idx="6">
                  <c:v>1.0506928851688921E-2</c:v>
                </c:pt>
                <c:pt idx="7">
                  <c:v>9.1024631772222628E-2</c:v>
                </c:pt>
                <c:pt idx="8">
                  <c:v>1.4093734792729056E-2</c:v>
                </c:pt>
                <c:pt idx="9">
                  <c:v>1.3257242188576946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1.4569840425069714E-6</c:v>
                </c:pt>
                <c:pt idx="6">
                  <c:v>5.9329440289473069E-6</c:v>
                </c:pt>
                <c:pt idx="7">
                  <c:v>4.9444538616075701E-2</c:v>
                </c:pt>
                <c:pt idx="8">
                  <c:v>8.8206601492313936E-6</c:v>
                </c:pt>
                <c:pt idx="9">
                  <c:v>8.959845441032614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7.4718342014114258E-4</c:v>
                </c:pt>
                <c:pt idx="1">
                  <c:v>1.7339094554510329E-2</c:v>
                </c:pt>
                <c:pt idx="2">
                  <c:v>3.0917818303169083E-2</c:v>
                </c:pt>
                <c:pt idx="3">
                  <c:v>6.5629911824638341E-7</c:v>
                </c:pt>
                <c:pt idx="4">
                  <c:v>8.856979742435149E-3</c:v>
                </c:pt>
                <c:pt idx="5">
                  <c:v>8.0786614921243977E-2</c:v>
                </c:pt>
                <c:pt idx="6">
                  <c:v>3.3642667234269147E-2</c:v>
                </c:pt>
                <c:pt idx="7">
                  <c:v>4.5920501122704654E-2</c:v>
                </c:pt>
                <c:pt idx="8">
                  <c:v>9.313221825662959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2.5000000000000001E-3</c:v>
                </c:pt>
                <c:pt idx="5">
                  <c:v>8.2500000000000004E-2</c:v>
                </c:pt>
                <c:pt idx="6">
                  <c:v>0.1095</c:v>
                </c:pt>
                <c:pt idx="7">
                  <c:v>0.21879999999999999</c:v>
                </c:pt>
                <c:pt idx="8">
                  <c:v>0.50970000000000004</c:v>
                </c:pt>
                <c:pt idx="9">
                  <c:v>6.9400000000000003E-2</c:v>
                </c:pt>
                <c:pt idx="10">
                  <c:v>7.7000000000000002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4769469987927959E-2</c:v>
                </c:pt>
                <c:pt idx="2">
                  <c:v>2.3174585769354574E-3</c:v>
                </c:pt>
                <c:pt idx="3">
                  <c:v>5.4889164840494477E-2</c:v>
                </c:pt>
                <c:pt idx="4">
                  <c:v>2.1417116059667604E-2</c:v>
                </c:pt>
                <c:pt idx="5">
                  <c:v>5.4954785824171529E-2</c:v>
                </c:pt>
                <c:pt idx="6">
                  <c:v>0.14927955263464024</c:v>
                </c:pt>
                <c:pt idx="7">
                  <c:v>0.13229106377391028</c:v>
                </c:pt>
                <c:pt idx="8">
                  <c:v>0.31299472077907148</c:v>
                </c:pt>
                <c:pt idx="9">
                  <c:v>0.14351243301228028</c:v>
                </c:pt>
                <c:pt idx="10">
                  <c:v>0.1132490185854586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2.5624963455585768E-4</c:v>
                </c:pt>
                <c:pt idx="5">
                  <c:v>8.625546990269144E-3</c:v>
                </c:pt>
                <c:pt idx="6">
                  <c:v>1.1454780717940091E-2</c:v>
                </c:pt>
                <c:pt idx="7">
                  <c:v>2.2883222378001097E-2</c:v>
                </c:pt>
                <c:pt idx="8">
                  <c:v>5.329542368167689E-2</c:v>
                </c:pt>
                <c:pt idx="9">
                  <c:v>7.2519363217122216E-3</c:v>
                </c:pt>
                <c:pt idx="10">
                  <c:v>8.0130730057553258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6">
                  <c:v>6.7580397135302726E-3</c:v>
                </c:pt>
                <c:pt idx="7">
                  <c:v>7.6792604187640604E-4</c:v>
                </c:pt>
                <c:pt idx="8">
                  <c:v>2.2935276614910325E-2</c:v>
                </c:pt>
                <c:pt idx="9">
                  <c:v>7.3021828060718733E-2</c:v>
                </c:pt>
                <c:pt idx="10">
                  <c:v>0.1054636419101056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t More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1.1985028367831106E-2</c:v>
                </c:pt>
                <c:pt idx="2">
                  <c:v>1.2722744909185247E-3</c:v>
                </c:pt>
                <c:pt idx="3">
                  <c:v>4.1117522494445613E-2</c:v>
                </c:pt>
                <c:pt idx="4">
                  <c:v>1.9643777086309891E-2</c:v>
                </c:pt>
                <c:pt idx="5">
                  <c:v>3.684323873362097E-2</c:v>
                </c:pt>
                <c:pt idx="6">
                  <c:v>5.2782584795062273E-2</c:v>
                </c:pt>
                <c:pt idx="7">
                  <c:v>1.9658859394885812E-2</c:v>
                </c:pt>
                <c:pt idx="8">
                  <c:v>9.889493820638589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Tartar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7.3020605736930772E-4</c:v>
                </c:pt>
                <c:pt idx="5">
                  <c:v>2.4820129818206998E-3</c:v>
                </c:pt>
                <c:pt idx="6">
                  <c:v>7.9532584340992179E-3</c:v>
                </c:pt>
                <c:pt idx="7">
                  <c:v>4.5076632235905106E-2</c:v>
                </c:pt>
                <c:pt idx="8">
                  <c:v>4.071376216686811E-2</c:v>
                </c:pt>
                <c:pt idx="9">
                  <c:v>1.2633480862079443E-2</c:v>
                </c:pt>
                <c:pt idx="10">
                  <c:v>2.0386041809200665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2.7844416200968536E-3</c:v>
                </c:pt>
                <c:pt idx="2">
                  <c:v>1.0451840860169327E-3</c:v>
                </c:pt>
                <c:pt idx="3">
                  <c:v>1.3771642346048864E-2</c:v>
                </c:pt>
                <c:pt idx="4">
                  <c:v>7.8688328143254767E-4</c:v>
                </c:pt>
                <c:pt idx="5">
                  <c:v>7.0039871184607184E-3</c:v>
                </c:pt>
                <c:pt idx="6">
                  <c:v>7.0330888974008368E-2</c:v>
                </c:pt>
                <c:pt idx="7">
                  <c:v>4.3904423723241881E-2</c:v>
                </c:pt>
                <c:pt idx="8">
                  <c:v>9.7155320109230198E-2</c:v>
                </c:pt>
                <c:pt idx="9">
                  <c:v>5.0605187767769885E-2</c:v>
                </c:pt>
                <c:pt idx="10">
                  <c:v>4.945465193857366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2.5999999999999999E-3</c:v>
                </c:pt>
                <c:pt idx="5">
                  <c:v>4.02E-2</c:v>
                </c:pt>
                <c:pt idx="6">
                  <c:v>0.1522</c:v>
                </c:pt>
                <c:pt idx="7">
                  <c:v>0.38500000000000001</c:v>
                </c:pt>
                <c:pt idx="8">
                  <c:v>0.32769999999999999</c:v>
                </c:pt>
                <c:pt idx="9">
                  <c:v>8.2400000000000001E-2</c:v>
                </c:pt>
                <c:pt idx="10">
                  <c:v>9.9000000000000008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0921024996954196E-3</c:v>
                </c:pt>
                <c:pt idx="1">
                  <c:v>2.2013794513369753E-2</c:v>
                </c:pt>
                <c:pt idx="2">
                  <c:v>6.0164729451450899E-3</c:v>
                </c:pt>
                <c:pt idx="3">
                  <c:v>5.9948371208162959E-2</c:v>
                </c:pt>
                <c:pt idx="4">
                  <c:v>2.3502461461467138E-2</c:v>
                </c:pt>
                <c:pt idx="5">
                  <c:v>7.9254515665220515E-2</c:v>
                </c:pt>
                <c:pt idx="6">
                  <c:v>0.10057809753875296</c:v>
                </c:pt>
                <c:pt idx="7">
                  <c:v>0.25267661121730911</c:v>
                </c:pt>
                <c:pt idx="8">
                  <c:v>0.2504997063205352</c:v>
                </c:pt>
                <c:pt idx="9">
                  <c:v>0.15719468225499189</c:v>
                </c:pt>
                <c:pt idx="10">
                  <c:v>4.722318437535000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2.8096906583749892E-4</c:v>
                </c:pt>
                <c:pt idx="5">
                  <c:v>4.3846185497573254E-3</c:v>
                </c:pt>
                <c:pt idx="6">
                  <c:v>1.6601237523760515E-2</c:v>
                </c:pt>
                <c:pt idx="7">
                  <c:v>4.2002967665951234E-2</c:v>
                </c:pt>
                <c:pt idx="8">
                  <c:v>3.5748879507964147E-2</c:v>
                </c:pt>
                <c:pt idx="9">
                  <c:v>8.9923057186475225E-3</c:v>
                </c:pt>
                <c:pt idx="10">
                  <c:v>1.076608769049459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6">
                  <c:v>8.0028603535492416E-4</c:v>
                </c:pt>
                <c:pt idx="7">
                  <c:v>1.0742766677238561E-2</c:v>
                </c:pt>
                <c:pt idx="8">
                  <c:v>2.1433128089056962E-2</c:v>
                </c:pt>
                <c:pt idx="9">
                  <c:v>7.791538913009359E-2</c:v>
                </c:pt>
                <c:pt idx="10">
                  <c:v>3.967011577900203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t More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4725635203864748E-4</c:v>
                </c:pt>
                <c:pt idx="1">
                  <c:v>1.4215372774110923E-2</c:v>
                </c:pt>
                <c:pt idx="2">
                  <c:v>4.8549256504206023E-3</c:v>
                </c:pt>
                <c:pt idx="3">
                  <c:v>4.262140340943385E-2</c:v>
                </c:pt>
                <c:pt idx="4">
                  <c:v>1.8334792981554462E-2</c:v>
                </c:pt>
                <c:pt idx="5">
                  <c:v>2.6101512439191687E-2</c:v>
                </c:pt>
                <c:pt idx="6">
                  <c:v>4.2468163801257251E-2</c:v>
                </c:pt>
                <c:pt idx="7">
                  <c:v>6.5960171015402719E-2</c:v>
                </c:pt>
                <c:pt idx="8">
                  <c:v>6.180255259659155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Tartar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3.8421592720662911E-7</c:v>
                </c:pt>
                <c:pt idx="3">
                  <c:v>3.9207895083318342E-5</c:v>
                </c:pt>
                <c:pt idx="4">
                  <c:v>3.5994509643752759E-3</c:v>
                </c:pt>
                <c:pt idx="5">
                  <c:v>6.7906948442288109E-3</c:v>
                </c:pt>
                <c:pt idx="6">
                  <c:v>6.4855648512478995E-4</c:v>
                </c:pt>
                <c:pt idx="7">
                  <c:v>4.5601069406954228E-2</c:v>
                </c:pt>
                <c:pt idx="8">
                  <c:v>3.610527105383772E-2</c:v>
                </c:pt>
                <c:pt idx="9">
                  <c:v>1.5523163373035199E-2</c:v>
                </c:pt>
                <c:pt idx="10">
                  <c:v>3.788842610725780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8.4484614765677202E-4</c:v>
                </c:pt>
                <c:pt idx="1">
                  <c:v>7.7984217392588302E-3</c:v>
                </c:pt>
                <c:pt idx="2">
                  <c:v>1.1611630787972808E-3</c:v>
                </c:pt>
                <c:pt idx="3">
                  <c:v>1.7287759903645793E-2</c:v>
                </c:pt>
                <c:pt idx="4">
                  <c:v>1.2872484496999027E-3</c:v>
                </c:pt>
                <c:pt idx="5">
                  <c:v>4.197768983204269E-2</c:v>
                </c:pt>
                <c:pt idx="6">
                  <c:v>4.0059853693255494E-2</c:v>
                </c:pt>
                <c:pt idx="7">
                  <c:v>8.8369636451762337E-2</c:v>
                </c:pt>
                <c:pt idx="8">
                  <c:v>9.5409875073084793E-2</c:v>
                </c:pt>
                <c:pt idx="9">
                  <c:v>5.4763824033215558E-2</c:v>
                </c:pt>
                <c:pt idx="10">
                  <c:v>2.687617216572734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1.2999999999999999E-3</c:v>
                </c:pt>
                <c:pt idx="5">
                  <c:v>0.12859999999999999</c:v>
                </c:pt>
                <c:pt idx="6">
                  <c:v>0.1171</c:v>
                </c:pt>
                <c:pt idx="7">
                  <c:v>0.1106</c:v>
                </c:pt>
                <c:pt idx="8">
                  <c:v>0.55940000000000001</c:v>
                </c:pt>
                <c:pt idx="9">
                  <c:v>7.7299999999999994E-2</c:v>
                </c:pt>
                <c:pt idx="10">
                  <c:v>5.7000000000000002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4.4185496993801796E-3</c:v>
                </c:pt>
                <c:pt idx="2">
                  <c:v>5.8867511383563073E-3</c:v>
                </c:pt>
                <c:pt idx="3">
                  <c:v>7.5681685289260239E-2</c:v>
                </c:pt>
                <c:pt idx="4">
                  <c:v>2.5426936831280101E-2</c:v>
                </c:pt>
                <c:pt idx="5">
                  <c:v>9.4771840334443316E-2</c:v>
                </c:pt>
                <c:pt idx="6">
                  <c:v>0.12889598069765412</c:v>
                </c:pt>
                <c:pt idx="7">
                  <c:v>0.13425471229470909</c:v>
                </c:pt>
                <c:pt idx="8">
                  <c:v>0.32909591222530005</c:v>
                </c:pt>
                <c:pt idx="9">
                  <c:v>0.10836522028352404</c:v>
                </c:pt>
                <c:pt idx="10">
                  <c:v>9.281769757231099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1.8615243730184993E-4</c:v>
                </c:pt>
                <c:pt idx="5">
                  <c:v>1.896502549652692E-2</c:v>
                </c:pt>
                <c:pt idx="6">
                  <c:v>1.726077346311387E-2</c:v>
                </c:pt>
                <c:pt idx="7">
                  <c:v>1.6311361300978516E-2</c:v>
                </c:pt>
                <c:pt idx="8">
                  <c:v>8.2465150831309508E-2</c:v>
                </c:pt>
                <c:pt idx="9">
                  <c:v>1.140012387078055E-2</c:v>
                </c:pt>
                <c:pt idx="10">
                  <c:v>8.3803854922597388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4.4173814446993118E-3</c:v>
                </c:pt>
                <c:pt idx="2">
                  <c:v>5.2218879271393025E-3</c:v>
                </c:pt>
                <c:pt idx="3">
                  <c:v>6.777826345130282E-2</c:v>
                </c:pt>
                <c:pt idx="4">
                  <c:v>2.2669203245781977E-2</c:v>
                </c:pt>
                <c:pt idx="5">
                  <c:v>6.7392423662108167E-2</c:v>
                </c:pt>
                <c:pt idx="6">
                  <c:v>1.8633009621187736E-2</c:v>
                </c:pt>
                <c:pt idx="7">
                  <c:v>3.2488299639938642E-2</c:v>
                </c:pt>
                <c:pt idx="8">
                  <c:v>9.942664059978237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8">
                  <c:v>2.4685547676057795E-2</c:v>
                </c:pt>
                <c:pt idx="9">
                  <c:v>4.175203301837152E-2</c:v>
                </c:pt>
                <c:pt idx="10">
                  <c:v>8.597560879987943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Tartar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2264569185720909E-4</c:v>
                </c:pt>
                <c:pt idx="5">
                  <c:v>2.1196981326732953E-5</c:v>
                </c:pt>
                <c:pt idx="6">
                  <c:v>7.9070002757186293E-3</c:v>
                </c:pt>
                <c:pt idx="7">
                  <c:v>5.7134737096229737E-2</c:v>
                </c:pt>
                <c:pt idx="8">
                  <c:v>4.0666366576069396E-2</c:v>
                </c:pt>
                <c:pt idx="9">
                  <c:v>1.382455755327223E-2</c:v>
                </c:pt>
                <c:pt idx="10">
                  <c:v>4.786781469826259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1.1682546808676057E-6</c:v>
                </c:pt>
                <c:pt idx="2">
                  <c:v>6.6486321121700463E-4</c:v>
                </c:pt>
                <c:pt idx="3">
                  <c:v>7.9034218379574143E-3</c:v>
                </c:pt>
                <c:pt idx="4">
                  <c:v>2.4489354563390652E-3</c:v>
                </c:pt>
                <c:pt idx="5">
                  <c:v>8.3931941944815035E-3</c:v>
                </c:pt>
                <c:pt idx="6">
                  <c:v>8.509519733763389E-2</c:v>
                </c:pt>
                <c:pt idx="7">
                  <c:v>2.8320314257562203E-2</c:v>
                </c:pt>
                <c:pt idx="8">
                  <c:v>8.1852206542080974E-2</c:v>
                </c:pt>
                <c:pt idx="9">
                  <c:v>4.1388505841099744E-2</c:v>
                </c:pt>
                <c:pt idx="10">
                  <c:v>1.217268753379321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5.0099999999999999E-2</c:v>
                </c:pt>
                <c:pt idx="8">
                  <c:v>0.94989999999999997</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184151077648034E-3</c:v>
                </c:pt>
                <c:pt idx="1">
                  <c:v>1.2433173216472356E-2</c:v>
                </c:pt>
                <c:pt idx="2">
                  <c:v>1.6653419563341498E-2</c:v>
                </c:pt>
                <c:pt idx="3">
                  <c:v>4.528856379315839E-2</c:v>
                </c:pt>
                <c:pt idx="4">
                  <c:v>6.0469880502980883E-2</c:v>
                </c:pt>
                <c:pt idx="5">
                  <c:v>6.8046692315063301E-2</c:v>
                </c:pt>
                <c:pt idx="6">
                  <c:v>0.10564996279910281</c:v>
                </c:pt>
                <c:pt idx="7">
                  <c:v>0.20914003576282764</c:v>
                </c:pt>
                <c:pt idx="8">
                  <c:v>0.18189208301942125</c:v>
                </c:pt>
                <c:pt idx="9">
                  <c:v>5.0891551137366327E-2</c:v>
                </c:pt>
                <c:pt idx="10">
                  <c:v>0.2431162227825007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7">
                  <c:v>5.6185465938068154E-4</c:v>
                </c:pt>
                <c:pt idx="8">
                  <c:v>1.064244743802032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0406870450386077E-4</c:v>
                </c:pt>
                <c:pt idx="1">
                  <c:v>5.648341745034556E-3</c:v>
                </c:pt>
                <c:pt idx="2">
                  <c:v>1.9483797523056189E-4</c:v>
                </c:pt>
                <c:pt idx="3">
                  <c:v>2.2247713587432619E-2</c:v>
                </c:pt>
                <c:pt idx="4">
                  <c:v>4.1343411473230188E-2</c:v>
                </c:pt>
                <c:pt idx="5">
                  <c:v>4.3725880508402653E-3</c:v>
                </c:pt>
                <c:pt idx="6">
                  <c:v>4.1440990923866085E-2</c:v>
                </c:pt>
                <c:pt idx="7">
                  <c:v>0.11830612581192236</c:v>
                </c:pt>
                <c:pt idx="8">
                  <c:v>0.13338433747979911</c:v>
                </c:pt>
                <c:pt idx="9">
                  <c:v>4.5186169508003936E-2</c:v>
                </c:pt>
                <c:pt idx="10">
                  <c:v>0.1990006993601412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0373462332664182E-6</c:v>
                </c:pt>
                <c:pt idx="1">
                  <c:v>3.0774919553610828E-5</c:v>
                </c:pt>
                <c:pt idx="4">
                  <c:v>2.0936176639641302E-4</c:v>
                </c:pt>
                <c:pt idx="5">
                  <c:v>1.1954430850568996E-2</c:v>
                </c:pt>
                <c:pt idx="6">
                  <c:v>1.5789455511649245E-2</c:v>
                </c:pt>
                <c:pt idx="7">
                  <c:v>3.608920183112923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4.4770126651555495E-5</c:v>
                </c:pt>
                <c:pt idx="1">
                  <c:v>1.6185829377370841E-3</c:v>
                </c:pt>
                <c:pt idx="2">
                  <c:v>6.2229069634481455E-4</c:v>
                </c:pt>
                <c:pt idx="3">
                  <c:v>1.6948547870356218E-3</c:v>
                </c:pt>
                <c:pt idx="4">
                  <c:v>9.7695163351760855E-3</c:v>
                </c:pt>
                <c:pt idx="5">
                  <c:v>3.5471246468041374E-2</c:v>
                </c:pt>
                <c:pt idx="6">
                  <c:v>1.2537394892261569E-2</c:v>
                </c:pt>
                <c:pt idx="7">
                  <c:v>1.3691035283868136E-2</c:v>
                </c:pt>
                <c:pt idx="8">
                  <c:v>1.4685893740976209E-2</c:v>
                </c:pt>
                <c:pt idx="9">
                  <c:v>1.3849072481170953E-3</c:v>
                </c:pt>
                <c:pt idx="10">
                  <c:v>2.932237903010498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5.7685389303761209E-3</c:v>
                </c:pt>
                <c:pt idx="1">
                  <c:v>5.1354736141471053E-3</c:v>
                </c:pt>
                <c:pt idx="2">
                  <c:v>1.5836290891766119E-2</c:v>
                </c:pt>
                <c:pt idx="3">
                  <c:v>2.1345995418690148E-2</c:v>
                </c:pt>
                <c:pt idx="4">
                  <c:v>9.1475909281781998E-3</c:v>
                </c:pt>
                <c:pt idx="5">
                  <c:v>1.6248426945612661E-2</c:v>
                </c:pt>
                <c:pt idx="6">
                  <c:v>3.5882121471325912E-2</c:v>
                </c:pt>
                <c:pt idx="7">
                  <c:v>4.0491818176527195E-2</c:v>
                </c:pt>
                <c:pt idx="8">
                  <c:v>2.3179404360625627E-2</c:v>
                </c:pt>
                <c:pt idx="9">
                  <c:v>4.3204743812452952E-3</c:v>
                </c:pt>
                <c:pt idx="10">
                  <c:v>1.479314439225454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0.2233</c:v>
                </c:pt>
                <c:pt idx="8">
                  <c:v>0.7766999999999999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2664777716174217E-2</c:v>
                </c:pt>
                <c:pt idx="1">
                  <c:v>1.455215005945285E-2</c:v>
                </c:pt>
                <c:pt idx="2">
                  <c:v>3.1793157987583059E-2</c:v>
                </c:pt>
                <c:pt idx="3">
                  <c:v>4.8197250418922831E-2</c:v>
                </c:pt>
                <c:pt idx="4">
                  <c:v>3.6172401739128751E-2</c:v>
                </c:pt>
                <c:pt idx="5">
                  <c:v>0.10756737889583758</c:v>
                </c:pt>
                <c:pt idx="6">
                  <c:v>0.1437797360274827</c:v>
                </c:pt>
                <c:pt idx="7">
                  <c:v>0.16541094068946494</c:v>
                </c:pt>
                <c:pt idx="8">
                  <c:v>0.17248314445239338</c:v>
                </c:pt>
                <c:pt idx="9">
                  <c:v>0.20438488641867086</c:v>
                </c:pt>
                <c:pt idx="10">
                  <c:v>6.299417559488881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2.0902637989208867E-7</c:v>
                </c:pt>
                <c:pt idx="7">
                  <c:v>3.7298040148804625E-3</c:v>
                </c:pt>
                <c:pt idx="8">
                  <c:v>1.297550588120280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8193811307894463E-4</c:v>
                </c:pt>
                <c:pt idx="1">
                  <c:v>6.0173469111435029E-5</c:v>
                </c:pt>
                <c:pt idx="2">
                  <c:v>8.963845470016352E-3</c:v>
                </c:pt>
                <c:pt idx="3">
                  <c:v>2.3701830432512266E-2</c:v>
                </c:pt>
                <c:pt idx="4">
                  <c:v>1.3538136962298842E-2</c:v>
                </c:pt>
                <c:pt idx="5">
                  <c:v>5.2050714440147451E-2</c:v>
                </c:pt>
                <c:pt idx="6">
                  <c:v>6.6835411572889747E-2</c:v>
                </c:pt>
                <c:pt idx="7">
                  <c:v>7.8245022457428454E-2</c:v>
                </c:pt>
                <c:pt idx="8">
                  <c:v>0.12333337649728078</c:v>
                </c:pt>
                <c:pt idx="9">
                  <c:v>0.18253935133240679</c:v>
                </c:pt>
                <c:pt idx="10">
                  <c:v>3.198088980502364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8323074475378015E-6</c:v>
                </c:pt>
                <c:pt idx="3">
                  <c:v>8.0997722208184354E-7</c:v>
                </c:pt>
                <c:pt idx="4">
                  <c:v>3.4743737786523303E-3</c:v>
                </c:pt>
                <c:pt idx="5">
                  <c:v>1.0002058596302368E-2</c:v>
                </c:pt>
                <c:pt idx="6">
                  <c:v>2.3991525318064207E-2</c:v>
                </c:pt>
                <c:pt idx="7">
                  <c:v>3.013339969502842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7244676341097316E-7</c:v>
                </c:pt>
                <c:pt idx="1">
                  <c:v>6.8490106201391507E-4</c:v>
                </c:pt>
                <c:pt idx="2">
                  <c:v>5.0108326353681221E-4</c:v>
                </c:pt>
                <c:pt idx="3">
                  <c:v>3.149750585020419E-3</c:v>
                </c:pt>
                <c:pt idx="4">
                  <c:v>8.9383965082644908E-3</c:v>
                </c:pt>
                <c:pt idx="5">
                  <c:v>2.4433093545586246E-2</c:v>
                </c:pt>
                <c:pt idx="6">
                  <c:v>1.1380854080325055E-2</c:v>
                </c:pt>
                <c:pt idx="7">
                  <c:v>1.5430902186178689E-2</c:v>
                </c:pt>
                <c:pt idx="8">
                  <c:v>6.3719131336949552E-3</c:v>
                </c:pt>
                <c:pt idx="9">
                  <c:v>1.3821451317604578E-2</c:v>
                </c:pt>
                <c:pt idx="10">
                  <c:v>1.774418145546594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1979834848884326E-2</c:v>
                </c:pt>
                <c:pt idx="1">
                  <c:v>1.38070755283275E-2</c:v>
                </c:pt>
                <c:pt idx="2">
                  <c:v>2.2328229254029896E-2</c:v>
                </c:pt>
                <c:pt idx="3">
                  <c:v>2.1344859424168066E-2</c:v>
                </c:pt>
                <c:pt idx="4">
                  <c:v>1.0221285463533189E-2</c:v>
                </c:pt>
                <c:pt idx="5">
                  <c:v>2.1081512313801523E-2</c:v>
                </c:pt>
                <c:pt idx="6">
                  <c:v>4.1571945056203694E-2</c:v>
                </c:pt>
                <c:pt idx="7">
                  <c:v>3.7871812335948912E-2</c:v>
                </c:pt>
                <c:pt idx="8">
                  <c:v>2.9802348940214829E-2</c:v>
                </c:pt>
                <c:pt idx="9">
                  <c:v>8.0240837686595106E-3</c:v>
                </c:pt>
                <c:pt idx="10">
                  <c:v>1.326910433439923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4.6399999999999997E-2</c:v>
                </c:pt>
                <c:pt idx="7">
                  <c:v>7.5700000000000003E-2</c:v>
                </c:pt>
                <c:pt idx="8">
                  <c:v>0.8779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0096130298614627E-3</c:v>
                </c:pt>
                <c:pt idx="3">
                  <c:v>0.26864620226306141</c:v>
                </c:pt>
                <c:pt idx="4">
                  <c:v>0.24445258049451576</c:v>
                </c:pt>
                <c:pt idx="5">
                  <c:v>9.7099623144768832E-2</c:v>
                </c:pt>
                <c:pt idx="6">
                  <c:v>2.9819821017562358E-2</c:v>
                </c:pt>
                <c:pt idx="7">
                  <c:v>0.16448722706132768</c:v>
                </c:pt>
                <c:pt idx="8">
                  <c:v>0.1922824145702286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233788397141476E-3</c:v>
                </c:pt>
                <c:pt idx="1">
                  <c:v>3.9175222582530523E-3</c:v>
                </c:pt>
                <c:pt idx="2">
                  <c:v>2.0573970079543279E-2</c:v>
                </c:pt>
                <c:pt idx="3">
                  <c:v>9.2174349105215783E-2</c:v>
                </c:pt>
                <c:pt idx="4">
                  <c:v>2.406388014634632E-2</c:v>
                </c:pt>
                <c:pt idx="5">
                  <c:v>8.1603425497824303E-2</c:v>
                </c:pt>
                <c:pt idx="6">
                  <c:v>0.1229698551242565</c:v>
                </c:pt>
                <c:pt idx="7">
                  <c:v>0.20932020763186437</c:v>
                </c:pt>
                <c:pt idx="8">
                  <c:v>0.14848773889644468</c:v>
                </c:pt>
                <c:pt idx="9">
                  <c:v>0.13344545786542822</c:v>
                </c:pt>
                <c:pt idx="10">
                  <c:v>0.1593202145551093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6">
                  <c:v>6.7741101620392009E-4</c:v>
                </c:pt>
                <c:pt idx="7">
                  <c:v>1.1066114815078863E-3</c:v>
                </c:pt>
                <c:pt idx="8">
                  <c:v>1.283068706682528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1.3363654757254455E-3</c:v>
                </c:pt>
                <c:pt idx="3">
                  <c:v>8.7012190295048905E-2</c:v>
                </c:pt>
                <c:pt idx="4">
                  <c:v>1.268574689640904E-3</c:v>
                </c:pt>
                <c:pt idx="5">
                  <c:v>1.0192482745461189E-3</c:v>
                </c:pt>
                <c:pt idx="6">
                  <c:v>3.1913976611991468E-2</c:v>
                </c:pt>
                <c:pt idx="7">
                  <c:v>0.11080357151802092</c:v>
                </c:pt>
                <c:pt idx="8">
                  <c:v>9.8545501973014871E-2</c:v>
                </c:pt>
                <c:pt idx="9">
                  <c:v>0.12773422056645714</c:v>
                </c:pt>
                <c:pt idx="10">
                  <c:v>0.1122901225403777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1388330782579099E-4</c:v>
                </c:pt>
                <c:pt idx="1">
                  <c:v>1.182099287038528E-3</c:v>
                </c:pt>
                <c:pt idx="2">
                  <c:v>3.7134657204931074E-4</c:v>
                </c:pt>
                <c:pt idx="3">
                  <c:v>3.8658096905670306E-3</c:v>
                </c:pt>
                <c:pt idx="4">
                  <c:v>1.8925822373788977E-2</c:v>
                </c:pt>
                <c:pt idx="5">
                  <c:v>5.1330828101471021E-2</c:v>
                </c:pt>
                <c:pt idx="6">
                  <c:v>2.4754917737717784E-2</c:v>
                </c:pt>
                <c:pt idx="7">
                  <c:v>2.6714253088929971E-2</c:v>
                </c:pt>
                <c:pt idx="8">
                  <c:v>2.276403682426777E-2</c:v>
                </c:pt>
                <c:pt idx="9">
                  <c:v>2.986582009986952E-3</c:v>
                </c:pt>
                <c:pt idx="10">
                  <c:v>3.729245017607318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0368088818749992E-3</c:v>
                </c:pt>
                <c:pt idx="5">
                  <c:v>2.0182016672363141E-2</c:v>
                </c:pt>
                <c:pt idx="6">
                  <c:v>2.3140351842732023E-2</c:v>
                </c:pt>
                <c:pt idx="7">
                  <c:v>4.068290986463614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0094955318883563E-3</c:v>
                </c:pt>
                <c:pt idx="1">
                  <c:v>2.7354229712145237E-3</c:v>
                </c:pt>
                <c:pt idx="2">
                  <c:v>1.8866258031768522E-2</c:v>
                </c:pt>
                <c:pt idx="3">
                  <c:v>1.2963491195998476E-3</c:v>
                </c:pt>
                <c:pt idx="4">
                  <c:v>2.8326742010414403E-3</c:v>
                </c:pt>
                <c:pt idx="5">
                  <c:v>9.0713324494440008E-3</c:v>
                </c:pt>
                <c:pt idx="6">
                  <c:v>4.2483197915611295E-2</c:v>
                </c:pt>
                <c:pt idx="7">
                  <c:v>3.0012861678769463E-2</c:v>
                </c:pt>
                <c:pt idx="8">
                  <c:v>1.4347513032336759E-2</c:v>
                </c:pt>
                <c:pt idx="9">
                  <c:v>2.7246552889841065E-3</c:v>
                </c:pt>
                <c:pt idx="10">
                  <c:v>9.737641838658467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233413980241707E-2</c:v>
                </c:pt>
                <c:pt idx="1">
                  <c:v>1.8516038253045791E-2</c:v>
                </c:pt>
                <c:pt idx="2">
                  <c:v>1.0825272627964894E-2</c:v>
                </c:pt>
                <c:pt idx="3">
                  <c:v>1.3085022230190355E-2</c:v>
                </c:pt>
                <c:pt idx="4">
                  <c:v>2.27156576849857E-2</c:v>
                </c:pt>
                <c:pt idx="5">
                  <c:v>0.15241475836441309</c:v>
                </c:pt>
                <c:pt idx="6">
                  <c:v>0.13260461332691367</c:v>
                </c:pt>
                <c:pt idx="7">
                  <c:v>0.14706949062230559</c:v>
                </c:pt>
                <c:pt idx="8">
                  <c:v>0.27489550926231998</c:v>
                </c:pt>
                <c:pt idx="9">
                  <c:v>0.18418147748810215</c:v>
                </c:pt>
                <c:pt idx="10">
                  <c:v>2.13580203373416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0239547921764041E-4</c:v>
                </c:pt>
                <c:pt idx="1">
                  <c:v>2.6155826392256924E-4</c:v>
                </c:pt>
                <c:pt idx="2">
                  <c:v>1.6105252827636695E-4</c:v>
                </c:pt>
                <c:pt idx="3">
                  <c:v>2.96035532044395E-7</c:v>
                </c:pt>
                <c:pt idx="4">
                  <c:v>4.327278483194817E-3</c:v>
                </c:pt>
                <c:pt idx="5">
                  <c:v>2.6641117272685588E-2</c:v>
                </c:pt>
                <c:pt idx="6">
                  <c:v>4.6877816897776911E-2</c:v>
                </c:pt>
                <c:pt idx="7">
                  <c:v>2.922080602178018E-3</c:v>
                </c:pt>
                <c:pt idx="8">
                  <c:v>0.15826895383529171</c:v>
                </c:pt>
                <c:pt idx="9">
                  <c:v>0.12122166244086677</c:v>
                </c:pt>
                <c:pt idx="10">
                  <c:v>1.459674356348779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3018037082867506E-4</c:v>
                </c:pt>
                <c:pt idx="1">
                  <c:v>6.4300171947890249E-4</c:v>
                </c:pt>
                <c:pt idx="2">
                  <c:v>1.6497541720523774E-3</c:v>
                </c:pt>
                <c:pt idx="3">
                  <c:v>1.3439946254130326E-3</c:v>
                </c:pt>
                <c:pt idx="4">
                  <c:v>2.512854128313462E-3</c:v>
                </c:pt>
                <c:pt idx="5">
                  <c:v>9.0940978132389619E-2</c:v>
                </c:pt>
                <c:pt idx="6">
                  <c:v>4.0292258954914076E-2</c:v>
                </c:pt>
                <c:pt idx="7">
                  <c:v>1.3849474617336882E-2</c:v>
                </c:pt>
                <c:pt idx="8">
                  <c:v>5.5697814241133974E-3</c:v>
                </c:pt>
                <c:pt idx="10">
                  <c:v>3.8131718051300349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1.9245152862007006E-4</c:v>
                </c:pt>
                <c:pt idx="3">
                  <c:v>4.6965543766289862E-3</c:v>
                </c:pt>
                <c:pt idx="5">
                  <c:v>3.7292206440384962E-3</c:v>
                </c:pt>
                <c:pt idx="6">
                  <c:v>9.8584916622859332E-3</c:v>
                </c:pt>
                <c:pt idx="7">
                  <c:v>6.7705722895600715E-2</c:v>
                </c:pt>
                <c:pt idx="8">
                  <c:v>3.59828161943956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001563952370753E-2</c:v>
                </c:pt>
                <c:pt idx="1">
                  <c:v>1.7611478269644317E-2</c:v>
                </c:pt>
                <c:pt idx="2">
                  <c:v>8.8220143990160784E-3</c:v>
                </c:pt>
                <c:pt idx="3">
                  <c:v>7.0441771926162905E-3</c:v>
                </c:pt>
                <c:pt idx="4">
                  <c:v>1.587552507347742E-2</c:v>
                </c:pt>
                <c:pt idx="5">
                  <c:v>3.1103442315299382E-2</c:v>
                </c:pt>
                <c:pt idx="6">
                  <c:v>3.5576045811936782E-2</c:v>
                </c:pt>
                <c:pt idx="7">
                  <c:v>6.2592212507189965E-2</c:v>
                </c:pt>
                <c:pt idx="8">
                  <c:v>7.5073957808519234E-2</c:v>
                </c:pt>
                <c:pt idx="9">
                  <c:v>6.2959815047235385E-2</c:v>
                </c:pt>
                <c:pt idx="10">
                  <c:v>6.723145055802576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72656352017654E-2</c:v>
                </c:pt>
                <c:pt idx="1">
                  <c:v>2.3212152827471175E-2</c:v>
                </c:pt>
                <c:pt idx="2">
                  <c:v>9.5276320472047864E-3</c:v>
                </c:pt>
                <c:pt idx="3">
                  <c:v>2.0834565919059692E-2</c:v>
                </c:pt>
                <c:pt idx="4">
                  <c:v>5.6280952496327273E-2</c:v>
                </c:pt>
                <c:pt idx="5">
                  <c:v>0.14858554007140801</c:v>
                </c:pt>
                <c:pt idx="6">
                  <c:v>0.13431405689832426</c:v>
                </c:pt>
                <c:pt idx="7">
                  <c:v>0.17459164325638374</c:v>
                </c:pt>
                <c:pt idx="8">
                  <c:v>0.24859878263049723</c:v>
                </c:pt>
                <c:pt idx="9">
                  <c:v>0.15784269013818414</c:v>
                </c:pt>
                <c:pt idx="10">
                  <c:v>6.439327363122094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1072206953701329E-4</c:v>
                </c:pt>
                <c:pt idx="1">
                  <c:v>9.8258963677779861E-7</c:v>
                </c:pt>
                <c:pt idx="2">
                  <c:v>5.3737979969518241E-4</c:v>
                </c:pt>
                <c:pt idx="3">
                  <c:v>3.7915792159768625E-3</c:v>
                </c:pt>
                <c:pt idx="4">
                  <c:v>1.74384459394888E-2</c:v>
                </c:pt>
                <c:pt idx="5">
                  <c:v>2.398886702522296E-2</c:v>
                </c:pt>
                <c:pt idx="6">
                  <c:v>2.8077040668504298E-2</c:v>
                </c:pt>
                <c:pt idx="7">
                  <c:v>2.4364165355091935E-2</c:v>
                </c:pt>
                <c:pt idx="8">
                  <c:v>0.11227914318733516</c:v>
                </c:pt>
                <c:pt idx="9">
                  <c:v>0.10566720078983508</c:v>
                </c:pt>
                <c:pt idx="10">
                  <c:v>6.364166892615614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6800755447496039E-7</c:v>
                </c:pt>
                <c:pt idx="1">
                  <c:v>9.0931288733664395E-4</c:v>
                </c:pt>
                <c:pt idx="2">
                  <c:v>4.389767568115952E-3</c:v>
                </c:pt>
                <c:pt idx="3">
                  <c:v>2.3038977767911605E-3</c:v>
                </c:pt>
                <c:pt idx="4">
                  <c:v>2.0754355039642937E-2</c:v>
                </c:pt>
                <c:pt idx="5">
                  <c:v>8.4672717134605294E-2</c:v>
                </c:pt>
                <c:pt idx="6">
                  <c:v>3.3036414939946537E-2</c:v>
                </c:pt>
                <c:pt idx="7">
                  <c:v>1.4734461081836587E-2</c:v>
                </c:pt>
                <c:pt idx="8">
                  <c:v>4.7791785325608238E-3</c:v>
                </c:pt>
                <c:pt idx="9">
                  <c:v>2.5608424212395474E-6</c:v>
                </c:pt>
                <c:pt idx="10">
                  <c:v>3.0887934333320745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3.5823283524473069E-4</c:v>
                </c:pt>
                <c:pt idx="3">
                  <c:v>7.7176408426039098E-3</c:v>
                </c:pt>
                <c:pt idx="4">
                  <c:v>1.4611566101307161E-6</c:v>
                </c:pt>
                <c:pt idx="5">
                  <c:v>2.6771749248684216E-4</c:v>
                </c:pt>
                <c:pt idx="6">
                  <c:v>2.7288245200244362E-2</c:v>
                </c:pt>
                <c:pt idx="7">
                  <c:v>4.7237192388286393E-2</c:v>
                </c:pt>
                <c:pt idx="8">
                  <c:v>4.7206900117100756E-2</c:v>
                </c:pt>
                <c:pt idx="9">
                  <c:v>4.533505667676302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9661766274926166E-2</c:v>
                </c:pt>
                <c:pt idx="1">
                  <c:v>2.2301857350497754E-2</c:v>
                </c:pt>
                <c:pt idx="2">
                  <c:v>4.2422518441489225E-3</c:v>
                </c:pt>
                <c:pt idx="3">
                  <c:v>7.0214480836877603E-3</c:v>
                </c:pt>
                <c:pt idx="4">
                  <c:v>1.8086690360585401E-2</c:v>
                </c:pt>
                <c:pt idx="5">
                  <c:v>3.9656238419092903E-2</c:v>
                </c:pt>
                <c:pt idx="6">
                  <c:v>4.5912356089629056E-2</c:v>
                </c:pt>
                <c:pt idx="7">
                  <c:v>8.8255824431168806E-2</c:v>
                </c:pt>
                <c:pt idx="8">
                  <c:v>8.4333560793500503E-2</c:v>
                </c:pt>
                <c:pt idx="9">
                  <c:v>5.1719577939160176E-2</c:v>
                </c:pt>
                <c:pt idx="10">
                  <c:v>4.4272536173159256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180570518301911E-2</c:v>
                </c:pt>
                <c:pt idx="1">
                  <c:v>7.1787501568152164E-3</c:v>
                </c:pt>
                <c:pt idx="2">
                  <c:v>7.4170086151862345E-3</c:v>
                </c:pt>
                <c:pt idx="3">
                  <c:v>1.2870735468148011E-2</c:v>
                </c:pt>
                <c:pt idx="4">
                  <c:v>6.6308669366560491E-2</c:v>
                </c:pt>
                <c:pt idx="5">
                  <c:v>0.16040717619239409</c:v>
                </c:pt>
                <c:pt idx="6">
                  <c:v>0.13239687151562307</c:v>
                </c:pt>
                <c:pt idx="7">
                  <c:v>0.17333995418547299</c:v>
                </c:pt>
                <c:pt idx="8">
                  <c:v>0.20746469137783644</c:v>
                </c:pt>
                <c:pt idx="9">
                  <c:v>0.13202397008973618</c:v>
                </c:pt>
                <c:pt idx="10">
                  <c:v>6.878646784920812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3.0064925207559088E-3</c:v>
                </c:pt>
                <c:pt idx="3">
                  <c:v>0.26852109344841774</c:v>
                </c:pt>
                <c:pt idx="4">
                  <c:v>0.24392545046056749</c:v>
                </c:pt>
                <c:pt idx="5">
                  <c:v>2.5698310281031214E-6</c:v>
                </c:pt>
                <c:pt idx="6">
                  <c:v>6.3813100070295365E-4</c:v>
                </c:pt>
                <c:pt idx="7">
                  <c:v>2.9943015570317748E-2</c:v>
                </c:pt>
                <c:pt idx="8">
                  <c:v>6.419610978454511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2.5776978577809882E-5</c:v>
                </c:pt>
                <c:pt idx="6">
                  <c:v>8.9463160462635669E-3</c:v>
                </c:pt>
                <c:pt idx="7">
                  <c:v>6.4434317387190906E-3</c:v>
                </c:pt>
                <c:pt idx="8">
                  <c:v>0.1086332345810203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9.709188742891893E-2</c:v>
                </c:pt>
                <c:pt idx="6">
                  <c:v>1.503311817291936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2">
                  <c:v>3.1205091055537905E-6</c:v>
                </c:pt>
                <c:pt idx="3">
                  <c:v>1.251088146436734E-4</c:v>
                </c:pt>
                <c:pt idx="4">
                  <c:v>5.0135305537044462E-4</c:v>
                </c:pt>
                <c:pt idx="5">
                  <c:v>5.1658848217991322E-6</c:v>
                </c:pt>
                <c:pt idx="6">
                  <c:v>5.2022557976764694E-3</c:v>
                </c:pt>
                <c:pt idx="7">
                  <c:v>0.12810077975229084</c:v>
                </c:pt>
                <c:pt idx="8">
                  <c:v>1.945307020466317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8336730136716521E-6</c:v>
                </c:pt>
                <c:pt idx="1">
                  <c:v>4.8682005239262548E-5</c:v>
                </c:pt>
                <c:pt idx="2">
                  <c:v>2.8813918186540743E-3</c:v>
                </c:pt>
                <c:pt idx="3">
                  <c:v>3.3094815121602729E-3</c:v>
                </c:pt>
                <c:pt idx="4">
                  <c:v>1.5610344208995217E-2</c:v>
                </c:pt>
                <c:pt idx="5">
                  <c:v>9.3941797251143294E-2</c:v>
                </c:pt>
                <c:pt idx="6">
                  <c:v>3.8529799961824956E-2</c:v>
                </c:pt>
                <c:pt idx="7">
                  <c:v>2.5987851347800527E-2</c:v>
                </c:pt>
                <c:pt idx="8">
                  <c:v>2.4451056016719266E-3</c:v>
                </c:pt>
                <c:pt idx="9">
                  <c:v>9.9924258903158255E-6</c:v>
                </c:pt>
                <c:pt idx="10">
                  <c:v>5.6549176369324639E-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5779084465603199E-4</c:v>
                </c:pt>
                <c:pt idx="1">
                  <c:v>9.5077186642930433E-7</c:v>
                </c:pt>
                <c:pt idx="2">
                  <c:v>2.3452372705256172E-5</c:v>
                </c:pt>
                <c:pt idx="3">
                  <c:v>2.4147741148742704E-4</c:v>
                </c:pt>
                <c:pt idx="4">
                  <c:v>2.5505033237120191E-2</c:v>
                </c:pt>
                <c:pt idx="5">
                  <c:v>5.2118020194195586E-3</c:v>
                </c:pt>
                <c:pt idx="6">
                  <c:v>4.7774440672096533E-2</c:v>
                </c:pt>
                <c:pt idx="7">
                  <c:v>1.0407614914575571E-2</c:v>
                </c:pt>
                <c:pt idx="8">
                  <c:v>8.0755051314214038E-2</c:v>
                </c:pt>
                <c:pt idx="9">
                  <c:v>5.3486659403018173E-2</c:v>
                </c:pt>
                <c:pt idx="10">
                  <c:v>6.878590235744443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4.8966056102102314E-3</c:v>
                </c:pt>
                <c:pt idx="1">
                  <c:v>6.8056063773153435E-3</c:v>
                </c:pt>
                <c:pt idx="3">
                  <c:v>6.5280120632940145E-5</c:v>
                </c:pt>
                <c:pt idx="4">
                  <c:v>1.1993396746461159E-4</c:v>
                </c:pt>
                <c:pt idx="5">
                  <c:v>1.5752040288069209E-2</c:v>
                </c:pt>
                <c:pt idx="6">
                  <c:v>1.5937875795687305E-2</c:v>
                </c:pt>
                <c:pt idx="7">
                  <c:v>5.3315421039937611E-2</c:v>
                </c:pt>
                <c:pt idx="8">
                  <c:v>1.3359245781636511E-2</c:v>
                </c:pt>
                <c:pt idx="9">
                  <c:v>6.982920980467764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6748475055139175E-2</c:v>
                </c:pt>
                <c:pt idx="1">
                  <c:v>3.2351100239418025E-4</c:v>
                </c:pt>
                <c:pt idx="2">
                  <c:v>4.5121644238269041E-3</c:v>
                </c:pt>
                <c:pt idx="3">
                  <c:v>9.2544964238673727E-3</c:v>
                </c:pt>
                <c:pt idx="4">
                  <c:v>2.5073357952980466E-2</c:v>
                </c:pt>
                <c:pt idx="5">
                  <c:v>4.5501536633762003E-2</c:v>
                </c:pt>
                <c:pt idx="6">
                  <c:v>3.0154755086014281E-2</c:v>
                </c:pt>
                <c:pt idx="7">
                  <c:v>8.3629066883159284E-2</c:v>
                </c:pt>
                <c:pt idx="8">
                  <c:v>0.11090528868031399</c:v>
                </c:pt>
                <c:pt idx="9">
                  <c:v>8.698108456150065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3951101757598065E-2</c:v>
                </c:pt>
                <c:pt idx="1">
                  <c:v>2.171650644987758E-2</c:v>
                </c:pt>
                <c:pt idx="2">
                  <c:v>4.1399587782975131E-2</c:v>
                </c:pt>
                <c:pt idx="3">
                  <c:v>2.1668009689674438E-2</c:v>
                </c:pt>
                <c:pt idx="4">
                  <c:v>5.2557201124251982E-2</c:v>
                </c:pt>
                <c:pt idx="5">
                  <c:v>6.3701696813513009E-2</c:v>
                </c:pt>
                <c:pt idx="6">
                  <c:v>0.13085829476746524</c:v>
                </c:pt>
                <c:pt idx="7">
                  <c:v>0.17790741654622319</c:v>
                </c:pt>
                <c:pt idx="8">
                  <c:v>0.38182493017031222</c:v>
                </c:pt>
                <c:pt idx="9">
                  <c:v>7.1585046101095867E-2</c:v>
                </c:pt>
                <c:pt idx="10">
                  <c:v>2.830208797013273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1623776833627002E-3</c:v>
                </c:pt>
                <c:pt idx="1">
                  <c:v>8.7656337149180381E-4</c:v>
                </c:pt>
                <c:pt idx="2">
                  <c:v>1.997401370399722E-2</c:v>
                </c:pt>
                <c:pt idx="3">
                  <c:v>1.6318094678739201E-3</c:v>
                </c:pt>
                <c:pt idx="4">
                  <c:v>6.8065736745573351E-3</c:v>
                </c:pt>
                <c:pt idx="5">
                  <c:v>4.2331941951958073E-2</c:v>
                </c:pt>
                <c:pt idx="6">
                  <c:v>1.0987943876921608E-2</c:v>
                </c:pt>
                <c:pt idx="7">
                  <c:v>0.10022590213000396</c:v>
                </c:pt>
                <c:pt idx="8">
                  <c:v>0.1956236050586164</c:v>
                </c:pt>
                <c:pt idx="9">
                  <c:v>6.9275193899495061E-2</c:v>
                </c:pt>
                <c:pt idx="10">
                  <c:v>2.573554570854617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5754374852480474E-4</c:v>
                </c:pt>
                <c:pt idx="2">
                  <c:v>8.0046715052893927E-4</c:v>
                </c:pt>
                <c:pt idx="3">
                  <c:v>2.5948633414850514E-7</c:v>
                </c:pt>
                <c:pt idx="4">
                  <c:v>3.273279241273426E-2</c:v>
                </c:pt>
                <c:pt idx="5">
                  <c:v>3.1311350987252953E-6</c:v>
                </c:pt>
                <c:pt idx="6">
                  <c:v>7.7690728652379942E-2</c:v>
                </c:pt>
                <c:pt idx="7">
                  <c:v>2.2557626459423118E-2</c:v>
                </c:pt>
                <c:pt idx="8">
                  <c:v>0.1138995715774357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2.1390953659405658E-3</c:v>
                </c:pt>
                <c:pt idx="4">
                  <c:v>1.0266638593046117E-4</c:v>
                </c:pt>
                <c:pt idx="6">
                  <c:v>2.2550160666894904E-2</c:v>
                </c:pt>
                <c:pt idx="7">
                  <c:v>2.6964534769534014E-3</c:v>
                </c:pt>
                <c:pt idx="8">
                  <c:v>4.87049399107866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243118032571056E-2</c:v>
                </c:pt>
                <c:pt idx="1">
                  <c:v>2.0839943078385777E-2</c:v>
                </c:pt>
                <c:pt idx="2">
                  <c:v>2.0625106928448968E-2</c:v>
                </c:pt>
                <c:pt idx="3">
                  <c:v>1.7896845369525804E-2</c:v>
                </c:pt>
                <c:pt idx="4">
                  <c:v>1.2915168651029919E-2</c:v>
                </c:pt>
                <c:pt idx="5">
                  <c:v>2.1366623726456209E-2</c:v>
                </c:pt>
                <c:pt idx="6">
                  <c:v>1.9629461571268787E-2</c:v>
                </c:pt>
                <c:pt idx="7">
                  <c:v>5.242743447984273E-2</c:v>
                </c:pt>
                <c:pt idx="8">
                  <c:v>2.3596813623473423E-2</c:v>
                </c:pt>
                <c:pt idx="9">
                  <c:v>2.3098522016008045E-3</c:v>
                </c:pt>
                <c:pt idx="10">
                  <c:v>2.566542261586557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6578369953938744E-2</c:v>
                </c:pt>
                <c:pt idx="1">
                  <c:v>3.9748049335277494E-2</c:v>
                </c:pt>
                <c:pt idx="2">
                  <c:v>3.6152583544337216E-2</c:v>
                </c:pt>
                <c:pt idx="3">
                  <c:v>2.5469849750860741E-2</c:v>
                </c:pt>
                <c:pt idx="4">
                  <c:v>6.4813880382745381E-2</c:v>
                </c:pt>
                <c:pt idx="5">
                  <c:v>8.5197700245182306E-2</c:v>
                </c:pt>
                <c:pt idx="6">
                  <c:v>0.17447621527054125</c:v>
                </c:pt>
                <c:pt idx="7">
                  <c:v>0.20259246306990597</c:v>
                </c:pt>
                <c:pt idx="8">
                  <c:v>0.20923515941614845</c:v>
                </c:pt>
                <c:pt idx="9">
                  <c:v>0.10072276476360653</c:v>
                </c:pt>
                <c:pt idx="10">
                  <c:v>5.012964267455894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7.2895615689523123E-3</c:v>
                </c:pt>
                <c:pt idx="1">
                  <c:v>1.2191397881004248E-2</c:v>
                </c:pt>
                <c:pt idx="2">
                  <c:v>1.0974375492565613E-2</c:v>
                </c:pt>
                <c:pt idx="3">
                  <c:v>2.2957743157416563E-3</c:v>
                </c:pt>
                <c:pt idx="4">
                  <c:v>1.2578924651319585E-2</c:v>
                </c:pt>
                <c:pt idx="5">
                  <c:v>5.5726885091712086E-2</c:v>
                </c:pt>
                <c:pt idx="6">
                  <c:v>3.0004173992332232E-2</c:v>
                </c:pt>
                <c:pt idx="7">
                  <c:v>0.1044620805993903</c:v>
                </c:pt>
                <c:pt idx="8">
                  <c:v>8.336121691648106E-2</c:v>
                </c:pt>
                <c:pt idx="9">
                  <c:v>9.0957371374645851E-2</c:v>
                </c:pt>
                <c:pt idx="10">
                  <c:v>4.17293774603411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6.7037277176314197E-5</c:v>
                </c:pt>
                <c:pt idx="2">
                  <c:v>2.1039368592767134E-5</c:v>
                </c:pt>
                <c:pt idx="3">
                  <c:v>1.2804621056102856E-5</c:v>
                </c:pt>
                <c:pt idx="4">
                  <c:v>3.2882094847373367E-2</c:v>
                </c:pt>
                <c:pt idx="5">
                  <c:v>1.6265488739259478E-2</c:v>
                </c:pt>
                <c:pt idx="6">
                  <c:v>7.8624434563229401E-2</c:v>
                </c:pt>
                <c:pt idx="7">
                  <c:v>5.0416138591354513E-2</c:v>
                </c:pt>
                <c:pt idx="8">
                  <c:v>7.905715147397755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5.2155196105875398E-3</c:v>
                </c:pt>
                <c:pt idx="4">
                  <c:v>1.9176191518417963E-3</c:v>
                </c:pt>
                <c:pt idx="5">
                  <c:v>2.2228582814683231E-5</c:v>
                </c:pt>
                <c:pt idx="6">
                  <c:v>2.1670370146516651E-2</c:v>
                </c:pt>
                <c:pt idx="7">
                  <c:v>3.1357634404897868E-3</c:v>
                </c:pt>
                <c:pt idx="8">
                  <c:v>3.452698005832101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9221771107810119E-2</c:v>
                </c:pt>
                <c:pt idx="1">
                  <c:v>2.7556651454273242E-2</c:v>
                </c:pt>
                <c:pt idx="2">
                  <c:v>2.515716868317883E-2</c:v>
                </c:pt>
                <c:pt idx="3">
                  <c:v>1.7945751203475444E-2</c:v>
                </c:pt>
                <c:pt idx="4">
                  <c:v>1.743524173221063E-2</c:v>
                </c:pt>
                <c:pt idx="5">
                  <c:v>1.3183097831396064E-2</c:v>
                </c:pt>
                <c:pt idx="6">
                  <c:v>4.417723656846298E-2</c:v>
                </c:pt>
                <c:pt idx="7">
                  <c:v>4.457848043867136E-2</c:v>
                </c:pt>
                <c:pt idx="8">
                  <c:v>1.228981096736885E-2</c:v>
                </c:pt>
                <c:pt idx="9">
                  <c:v>9.7653933889606855E-3</c:v>
                </c:pt>
                <c:pt idx="10">
                  <c:v>8.4002652142177578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150705379299439E-2</c:v>
                </c:pt>
                <c:pt idx="1">
                  <c:v>9.0902853088647602E-3</c:v>
                </c:pt>
                <c:pt idx="2">
                  <c:v>1.6253323699152004E-2</c:v>
                </c:pt>
                <c:pt idx="3">
                  <c:v>1.2374473445219698E-2</c:v>
                </c:pt>
                <c:pt idx="4">
                  <c:v>5.2044058253641889E-2</c:v>
                </c:pt>
                <c:pt idx="5">
                  <c:v>9.1526042103984434E-2</c:v>
                </c:pt>
                <c:pt idx="6">
                  <c:v>0.20203294286153259</c:v>
                </c:pt>
                <c:pt idx="7">
                  <c:v>0.15911147347283777</c:v>
                </c:pt>
                <c:pt idx="8">
                  <c:v>0.36684529217071971</c:v>
                </c:pt>
                <c:pt idx="9">
                  <c:v>7.921505489105275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3">
                  <c:v>2.0899562649838795E-3</c:v>
                </c:pt>
                <c:pt idx="4">
                  <c:v>4.2185404740382765E-2</c:v>
                </c:pt>
                <c:pt idx="5">
                  <c:v>1.4575780542626026E-3</c:v>
                </c:pt>
                <c:pt idx="6">
                  <c:v>0.12407181931779919</c:v>
                </c:pt>
                <c:pt idx="7">
                  <c:v>2.5947318948741912E-2</c:v>
                </c:pt>
                <c:pt idx="8">
                  <c:v>0.1386662609956675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1.2371282471877402E-3</c:v>
                </c:pt>
                <c:pt idx="2">
                  <c:v>1.3954287994129417E-2</c:v>
                </c:pt>
                <c:pt idx="3">
                  <c:v>5.5065899910778969E-3</c:v>
                </c:pt>
                <c:pt idx="4">
                  <c:v>5.8299284924079823E-3</c:v>
                </c:pt>
                <c:pt idx="5">
                  <c:v>7.9707656351761191E-2</c:v>
                </c:pt>
                <c:pt idx="6">
                  <c:v>2.6179522847495355E-2</c:v>
                </c:pt>
                <c:pt idx="7">
                  <c:v>8.0365178624578398E-2</c:v>
                </c:pt>
                <c:pt idx="8">
                  <c:v>0.12693046692371843</c:v>
                </c:pt>
                <c:pt idx="9">
                  <c:v>7.921505489105275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1.4137223668398494E-7</c:v>
                </c:pt>
                <c:pt idx="3">
                  <c:v>2.2215637193197631E-7</c:v>
                </c:pt>
                <c:pt idx="4">
                  <c:v>1.3127421977798601E-7</c:v>
                </c:pt>
                <c:pt idx="6">
                  <c:v>2.4006328629155329E-2</c:v>
                </c:pt>
                <c:pt idx="7">
                  <c:v>1.0861124043585262E-3</c:v>
                </c:pt>
                <c:pt idx="8">
                  <c:v>7.850165019267774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150705379299439E-2</c:v>
                </c:pt>
                <c:pt idx="1">
                  <c:v>7.8531570616770206E-3</c:v>
                </c:pt>
                <c:pt idx="2">
                  <c:v>2.2988943327859031E-3</c:v>
                </c:pt>
                <c:pt idx="3">
                  <c:v>4.7777050327859885E-3</c:v>
                </c:pt>
                <c:pt idx="4">
                  <c:v>4.0285937466313648E-3</c:v>
                </c:pt>
                <c:pt idx="5">
                  <c:v>1.0360807697960639E-2</c:v>
                </c:pt>
                <c:pt idx="6">
                  <c:v>2.7775272067082742E-2</c:v>
                </c:pt>
                <c:pt idx="7">
                  <c:v>5.1712863495158932E-2</c:v>
                </c:pt>
                <c:pt idx="8">
                  <c:v>2.274691405865604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229236969787683E-2</c:v>
                </c:pt>
                <c:pt idx="1">
                  <c:v>3.4208146091019583E-2</c:v>
                </c:pt>
                <c:pt idx="2">
                  <c:v>4.638899137720838E-2</c:v>
                </c:pt>
                <c:pt idx="3">
                  <c:v>4.2363038609228514E-2</c:v>
                </c:pt>
                <c:pt idx="4">
                  <c:v>7.3599001227352384E-2</c:v>
                </c:pt>
                <c:pt idx="5">
                  <c:v>0.21666215265832334</c:v>
                </c:pt>
                <c:pt idx="6">
                  <c:v>0.35850197330543987</c:v>
                </c:pt>
                <c:pt idx="7">
                  <c:v>0.11680761238296966</c:v>
                </c:pt>
                <c:pt idx="8">
                  <c:v>4.7250813869102577E-2</c:v>
                </c:pt>
                <c:pt idx="9">
                  <c:v>2.298885181058734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2067234970202518E-4</c:v>
                </c:pt>
                <c:pt idx="1">
                  <c:v>2.8405607312913979E-6</c:v>
                </c:pt>
                <c:pt idx="2">
                  <c:v>2.000832835447843E-3</c:v>
                </c:pt>
                <c:pt idx="3">
                  <c:v>2.0922698191585174E-3</c:v>
                </c:pt>
                <c:pt idx="4">
                  <c:v>1.9837289047332017E-3</c:v>
                </c:pt>
                <c:pt idx="5">
                  <c:v>1.335072022992722E-2</c:v>
                </c:pt>
                <c:pt idx="6">
                  <c:v>0.20974885772815974</c:v>
                </c:pt>
                <c:pt idx="7">
                  <c:v>0.10680264267358276</c:v>
                </c:pt>
                <c:pt idx="8">
                  <c:v>5.3849702939730822E-3</c:v>
                </c:pt>
                <c:pt idx="9">
                  <c:v>1.240867158143028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5.6932347279614364E-7</c:v>
                </c:pt>
                <c:pt idx="1">
                  <c:v>2.3792966706217691E-2</c:v>
                </c:pt>
                <c:pt idx="2">
                  <c:v>3.1812117972593569E-2</c:v>
                </c:pt>
                <c:pt idx="4">
                  <c:v>2.1253269203768297E-3</c:v>
                </c:pt>
                <c:pt idx="5">
                  <c:v>0.1233043866264559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1224575664137333E-3</c:v>
                </c:pt>
                <c:pt idx="2">
                  <c:v>2.8526376568739032E-3</c:v>
                </c:pt>
                <c:pt idx="3">
                  <c:v>5.1450610165164013E-3</c:v>
                </c:pt>
                <c:pt idx="4">
                  <c:v>5.7721799067503875E-2</c:v>
                </c:pt>
                <c:pt idx="5">
                  <c:v>1.2534031764833841E-2</c:v>
                </c:pt>
                <c:pt idx="6">
                  <c:v>8.6587668068377394E-2</c:v>
                </c:pt>
                <c:pt idx="8">
                  <c:v>1.8426081517454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9985537730199132E-2</c:v>
                </c:pt>
                <c:pt idx="1">
                  <c:v>1.0412338824070604E-2</c:v>
                </c:pt>
                <c:pt idx="2">
                  <c:v>9.7234029122930648E-3</c:v>
                </c:pt>
                <c:pt idx="3">
                  <c:v>3.5125707773553602E-2</c:v>
                </c:pt>
                <c:pt idx="4">
                  <c:v>1.1768146334738484E-2</c:v>
                </c:pt>
                <c:pt idx="5">
                  <c:v>6.7473014037106302E-2</c:v>
                </c:pt>
                <c:pt idx="6">
                  <c:v>6.2165447508902738E-2</c:v>
                </c:pt>
                <c:pt idx="7">
                  <c:v>1.0004969709386895E-2</c:v>
                </c:pt>
                <c:pt idx="8">
                  <c:v>2.3439762057674576E-2</c:v>
                </c:pt>
                <c:pt idx="9">
                  <c:v>1.058018022915705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3220514636903894E-2</c:v>
                </c:pt>
                <c:pt idx="1">
                  <c:v>1.2441037528871992E-2</c:v>
                </c:pt>
                <c:pt idx="2">
                  <c:v>8.7624574801509106E-2</c:v>
                </c:pt>
                <c:pt idx="3">
                  <c:v>3.0282854374379737E-2</c:v>
                </c:pt>
                <c:pt idx="4">
                  <c:v>0.14027776593737548</c:v>
                </c:pt>
                <c:pt idx="5">
                  <c:v>0.28950622024873895</c:v>
                </c:pt>
                <c:pt idx="6">
                  <c:v>0.21798642705429877</c:v>
                </c:pt>
                <c:pt idx="7">
                  <c:v>5.658159874439702E-2</c:v>
                </c:pt>
                <c:pt idx="8">
                  <c:v>9.8827159824716446E-2</c:v>
                </c:pt>
                <c:pt idx="9">
                  <c:v>1.325184684880861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3375518511576435E-3</c:v>
                </c:pt>
                <c:pt idx="1">
                  <c:v>2.1602037164684789E-5</c:v>
                </c:pt>
                <c:pt idx="2">
                  <c:v>9.2131917006053315E-3</c:v>
                </c:pt>
                <c:pt idx="3">
                  <c:v>3.275023134431676E-5</c:v>
                </c:pt>
                <c:pt idx="4">
                  <c:v>1.4103430013893581E-3</c:v>
                </c:pt>
                <c:pt idx="5">
                  <c:v>4.3140155444401931E-2</c:v>
                </c:pt>
                <c:pt idx="6">
                  <c:v>0.11246984924594039</c:v>
                </c:pt>
                <c:pt idx="7">
                  <c:v>4.5377856469198716E-2</c:v>
                </c:pt>
                <c:pt idx="8">
                  <c:v>1.7636134591646855E-3</c:v>
                </c:pt>
                <c:pt idx="9">
                  <c:v>6.143889395100912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1180255460291005E-3</c:v>
                </c:pt>
                <c:pt idx="2">
                  <c:v>5.0127102914921035E-2</c:v>
                </c:pt>
                <c:pt idx="3">
                  <c:v>1.7280858230420521E-3</c:v>
                </c:pt>
                <c:pt idx="4">
                  <c:v>2.6365247784431421E-2</c:v>
                </c:pt>
                <c:pt idx="5">
                  <c:v>0.1007955683112156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1">
                  <c:v>2.1212428994393153E-4</c:v>
                </c:pt>
                <c:pt idx="2">
                  <c:v>9.317537255124032E-3</c:v>
                </c:pt>
                <c:pt idx="3">
                  <c:v>2.6069029849810682E-4</c:v>
                </c:pt>
                <c:pt idx="4">
                  <c:v>6.6651696969245763E-2</c:v>
                </c:pt>
                <c:pt idx="5">
                  <c:v>2.5915848261273244E-2</c:v>
                </c:pt>
                <c:pt idx="6">
                  <c:v>7.5755991257501265E-2</c:v>
                </c:pt>
                <c:pt idx="8">
                  <c:v>2.07393058054201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4764937239717154E-2</c:v>
                </c:pt>
                <c:pt idx="1">
                  <c:v>1.2207311201763375E-2</c:v>
                </c:pt>
                <c:pt idx="2">
                  <c:v>1.8966742930858708E-2</c:v>
                </c:pt>
                <c:pt idx="3">
                  <c:v>2.8261328021495263E-2</c:v>
                </c:pt>
                <c:pt idx="4">
                  <c:v>4.5850478182308925E-2</c:v>
                </c:pt>
                <c:pt idx="5">
                  <c:v>0.11965464823184818</c:v>
                </c:pt>
                <c:pt idx="6">
                  <c:v>2.9760586550857119E-2</c:v>
                </c:pt>
                <c:pt idx="7">
                  <c:v>1.1203742275198304E-2</c:v>
                </c:pt>
                <c:pt idx="8">
                  <c:v>7.6324240560131568E-2</c:v>
                </c:pt>
                <c:pt idx="9">
                  <c:v>7.107957453707702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1847693416567174E-2</c:v>
                </c:pt>
                <c:pt idx="1">
                  <c:v>8.6420771688770298E-2</c:v>
                </c:pt>
                <c:pt idx="2">
                  <c:v>1.4979502724817682E-2</c:v>
                </c:pt>
                <c:pt idx="3">
                  <c:v>3.8435745481682639E-2</c:v>
                </c:pt>
                <c:pt idx="4">
                  <c:v>9.221361436269071E-2</c:v>
                </c:pt>
                <c:pt idx="5">
                  <c:v>0.23543198442819938</c:v>
                </c:pt>
                <c:pt idx="6">
                  <c:v>0.18117729862300258</c:v>
                </c:pt>
                <c:pt idx="7">
                  <c:v>0.20368518910803782</c:v>
                </c:pt>
                <c:pt idx="8">
                  <c:v>9.7217979514334779E-2</c:v>
                </c:pt>
                <c:pt idx="9">
                  <c:v>2.859022065189690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4.2428664933548254E-3</c:v>
                </c:pt>
                <c:pt idx="3">
                  <c:v>9.8194024376712114E-3</c:v>
                </c:pt>
                <c:pt idx="4">
                  <c:v>1.1778201192094651E-2</c:v>
                </c:pt>
                <c:pt idx="5">
                  <c:v>2.2363432229188829E-6</c:v>
                </c:pt>
                <c:pt idx="6">
                  <c:v>1.1011135466633473E-2</c:v>
                </c:pt>
                <c:pt idx="7">
                  <c:v>0.19000214688949399</c:v>
                </c:pt>
                <c:pt idx="8">
                  <c:v>4.5250168772540678E-2</c:v>
                </c:pt>
                <c:pt idx="9">
                  <c:v>1.820416690695460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0456139789913159E-3</c:v>
                </c:pt>
                <c:pt idx="1">
                  <c:v>7.5389509133130556E-2</c:v>
                </c:pt>
                <c:pt idx="2">
                  <c:v>7.0250202079780166E-3</c:v>
                </c:pt>
                <c:pt idx="4">
                  <c:v>2.5381543944715312E-2</c:v>
                </c:pt>
                <c:pt idx="5">
                  <c:v>0.156770800323479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5.3686511881263308E-3</c:v>
                </c:pt>
                <c:pt idx="4">
                  <c:v>3.5295110706602621E-2</c:v>
                </c:pt>
                <c:pt idx="6">
                  <c:v>0.12133356286779519</c:v>
                </c:pt>
                <c:pt idx="7">
                  <c:v>5.0100273823574029E-3</c:v>
                </c:pt>
                <c:pt idx="8">
                  <c:v>2.720587661513941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8802079437575857E-2</c:v>
                </c:pt>
                <c:pt idx="1">
                  <c:v>1.1031262555639744E-2</c:v>
                </c:pt>
                <c:pt idx="2">
                  <c:v>3.7116160234848396E-3</c:v>
                </c:pt>
                <c:pt idx="3">
                  <c:v>2.3247691855885096E-2</c:v>
                </c:pt>
                <c:pt idx="4">
                  <c:v>1.9758758519278136E-2</c:v>
                </c:pt>
                <c:pt idx="5">
                  <c:v>7.8658947761496567E-2</c:v>
                </c:pt>
                <c:pt idx="6">
                  <c:v>4.8832600288573919E-2</c:v>
                </c:pt>
                <c:pt idx="7">
                  <c:v>8.6730148361864323E-3</c:v>
                </c:pt>
                <c:pt idx="8">
                  <c:v>2.4761934126654679E-2</c:v>
                </c:pt>
                <c:pt idx="9">
                  <c:v>1.038605374494229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0597465735164769E-3</c:v>
                </c:pt>
                <c:pt idx="2">
                  <c:v>2.9168365172154057E-2</c:v>
                </c:pt>
                <c:pt idx="3">
                  <c:v>3.1453681444016668E-3</c:v>
                </c:pt>
                <c:pt idx="4">
                  <c:v>1.5735665051344716E-2</c:v>
                </c:pt>
                <c:pt idx="5">
                  <c:v>1.4067589267378135E-2</c:v>
                </c:pt>
                <c:pt idx="6">
                  <c:v>3.4514891105569899E-2</c:v>
                </c:pt>
                <c:pt idx="7">
                  <c:v>0.16517909111599685</c:v>
                </c:pt>
                <c:pt idx="8">
                  <c:v>0.21716158558225279</c:v>
                </c:pt>
                <c:pt idx="9">
                  <c:v>0.21383677043095903</c:v>
                </c:pt>
                <c:pt idx="10">
                  <c:v>0.3029403576247336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9498331266352525</c:v>
                </c:pt>
                <c:pt idx="1">
                  <c:v>1.2898740235923686E-2</c:v>
                </c:pt>
                <c:pt idx="2">
                  <c:v>1.7945797245864717E-2</c:v>
                </c:pt>
                <c:pt idx="3">
                  <c:v>2.9439778517212502E-2</c:v>
                </c:pt>
                <c:pt idx="4">
                  <c:v>9.6515302301864808E-2</c:v>
                </c:pt>
                <c:pt idx="5">
                  <c:v>8.4406928367194101E-2</c:v>
                </c:pt>
                <c:pt idx="6">
                  <c:v>0.18499548315225822</c:v>
                </c:pt>
                <c:pt idx="7">
                  <c:v>0.25423962509260389</c:v>
                </c:pt>
                <c:pt idx="8">
                  <c:v>0.10017514101023534</c:v>
                </c:pt>
                <c:pt idx="9">
                  <c:v>2.0524173093343596E-2</c:v>
                </c:pt>
                <c:pt idx="10">
                  <c:v>3.8757183199738727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8865693651208953E-2</c:v>
                </c:pt>
                <c:pt idx="1">
                  <c:v>1.597352639820093E-3</c:v>
                </c:pt>
                <c:pt idx="2">
                  <c:v>1.8386094103793419E-5</c:v>
                </c:pt>
                <c:pt idx="3">
                  <c:v>7.3486517224377271E-3</c:v>
                </c:pt>
                <c:pt idx="4">
                  <c:v>1.2772791325125798E-2</c:v>
                </c:pt>
                <c:pt idx="5">
                  <c:v>4.9915516131305994E-2</c:v>
                </c:pt>
                <c:pt idx="6">
                  <c:v>3.0033433731189212E-2</c:v>
                </c:pt>
                <c:pt idx="7">
                  <c:v>0.1150925878033594</c:v>
                </c:pt>
                <c:pt idx="8">
                  <c:v>7.2603903415943416E-2</c:v>
                </c:pt>
                <c:pt idx="9">
                  <c:v>1.893268156719603E-2</c:v>
                </c:pt>
                <c:pt idx="10">
                  <c:v>3.7254307485164256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3.2172449604721029E-2</c:v>
                </c:pt>
                <c:pt idx="5">
                  <c:v>3.2735132775573851E-3</c:v>
                </c:pt>
                <c:pt idx="6">
                  <c:v>6.4594512741243129E-2</c:v>
                </c:pt>
                <c:pt idx="7">
                  <c:v>4.075327447505704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ve D'Affino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9023622314289713E-4</c:v>
                </c:pt>
                <c:pt idx="2">
                  <c:v>5.5560065311747217E-4</c:v>
                </c:pt>
                <c:pt idx="3">
                  <c:v>4.8825271761337026E-4</c:v>
                </c:pt>
                <c:pt idx="4">
                  <c:v>7.5686202940650389E-4</c:v>
                </c:pt>
                <c:pt idx="5">
                  <c:v>2.646069271653E-3</c:v>
                </c:pt>
                <c:pt idx="6">
                  <c:v>9.0237576035883196E-4</c:v>
                </c:pt>
                <c:pt idx="7">
                  <c:v>2.7493884713361373E-2</c:v>
                </c:pt>
                <c:pt idx="8">
                  <c:v>3.94409865691543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0.12592738278917343</c:v>
                </c:pt>
                <c:pt idx="1">
                  <c:v>1.1301387596103593E-2</c:v>
                </c:pt>
                <c:pt idx="2">
                  <c:v>1.7371810498643451E-2</c:v>
                </c:pt>
                <c:pt idx="3">
                  <c:v>2.1602874077161403E-2</c:v>
                </c:pt>
                <c:pt idx="4">
                  <c:v>5.081319934261147E-2</c:v>
                </c:pt>
                <c:pt idx="5">
                  <c:v>2.8571829686677729E-2</c:v>
                </c:pt>
                <c:pt idx="6">
                  <c:v>8.9465160919467046E-2</c:v>
                </c:pt>
                <c:pt idx="7">
                  <c:v>0.10757782512837744</c:v>
                </c:pt>
                <c:pt idx="8">
                  <c:v>2.7176827728600368E-2</c:v>
                </c:pt>
                <c:pt idx="9">
                  <c:v>1.591491526147567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25131734248297161</c:v>
                </c:pt>
                <c:pt idx="1">
                  <c:v>2.3995313180558159E-2</c:v>
                </c:pt>
                <c:pt idx="2">
                  <c:v>1.7913651730790934E-2</c:v>
                </c:pt>
                <c:pt idx="3">
                  <c:v>4.7597097714130857E-2</c:v>
                </c:pt>
                <c:pt idx="4">
                  <c:v>9.6518899672269634E-2</c:v>
                </c:pt>
                <c:pt idx="5">
                  <c:v>0.11494751174683011</c:v>
                </c:pt>
                <c:pt idx="6">
                  <c:v>0.17365993639694649</c:v>
                </c:pt>
                <c:pt idx="7">
                  <c:v>0.17952376942204418</c:v>
                </c:pt>
                <c:pt idx="8">
                  <c:v>8.2893600058558198E-2</c:v>
                </c:pt>
                <c:pt idx="9">
                  <c:v>1.0852694598812915E-2</c:v>
                </c:pt>
                <c:pt idx="10">
                  <c:v>7.801829960868735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9.0782490226790774E-2</c:v>
                </c:pt>
                <c:pt idx="1">
                  <c:v>3.6498678989089948E-3</c:v>
                </c:pt>
                <c:pt idx="2">
                  <c:v>1.3021314977468314E-4</c:v>
                </c:pt>
                <c:pt idx="3">
                  <c:v>2.4115791299788969E-2</c:v>
                </c:pt>
                <c:pt idx="4">
                  <c:v>3.4095393137324376E-2</c:v>
                </c:pt>
                <c:pt idx="5">
                  <c:v>5.0090418365926447E-2</c:v>
                </c:pt>
                <c:pt idx="6">
                  <c:v>4.3030400579000906E-2</c:v>
                </c:pt>
                <c:pt idx="7">
                  <c:v>8.4587082630668844E-2</c:v>
                </c:pt>
                <c:pt idx="8">
                  <c:v>1.8760286273090294E-2</c:v>
                </c:pt>
                <c:pt idx="9">
                  <c:v>7.899963053851185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2.6529993479664411E-2</c:v>
                </c:pt>
                <c:pt idx="5">
                  <c:v>1.5983326112948473E-2</c:v>
                </c:pt>
                <c:pt idx="6">
                  <c:v>3.6642299154613651E-2</c:v>
                </c:pt>
                <c:pt idx="7">
                  <c:v>7.044404733553281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ocha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5422420267787064E-2</c:v>
                </c:pt>
                <c:pt idx="1">
                  <c:v>7.2585754055184613E-7</c:v>
                </c:pt>
                <c:pt idx="2">
                  <c:v>9.4233387764583793E-5</c:v>
                </c:pt>
                <c:pt idx="3">
                  <c:v>4.4496063510883832E-3</c:v>
                </c:pt>
                <c:pt idx="4">
                  <c:v>7.903706201560306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0.13511243198839379</c:v>
                </c:pt>
                <c:pt idx="1">
                  <c:v>2.0344719424108614E-2</c:v>
                </c:pt>
                <c:pt idx="2">
                  <c:v>1.7689205193251671E-2</c:v>
                </c:pt>
                <c:pt idx="3">
                  <c:v>1.9031700063253505E-2</c:v>
                </c:pt>
                <c:pt idx="4">
                  <c:v>2.7989806853720534E-2</c:v>
                </c:pt>
                <c:pt idx="5">
                  <c:v>4.8873767267955191E-2</c:v>
                </c:pt>
                <c:pt idx="6">
                  <c:v>9.3987236663331947E-2</c:v>
                </c:pt>
                <c:pt idx="7">
                  <c:v>8.7892282057822069E-2</c:v>
                </c:pt>
                <c:pt idx="8">
                  <c:v>6.413331378546791E-2</c:v>
                </c:pt>
                <c:pt idx="9">
                  <c:v>2.9527315449617295E-3</c:v>
                </c:pt>
                <c:pt idx="10">
                  <c:v>7.80182996086873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1144784079699287</c:v>
                </c:pt>
                <c:pt idx="1">
                  <c:v>8.6392287917828828E-3</c:v>
                </c:pt>
                <c:pt idx="2">
                  <c:v>7.0227379730336608E-3</c:v>
                </c:pt>
                <c:pt idx="3">
                  <c:v>2.7032315135339206E-2</c:v>
                </c:pt>
                <c:pt idx="4">
                  <c:v>9.96247835885887E-2</c:v>
                </c:pt>
                <c:pt idx="5">
                  <c:v>8.0920570595953006E-2</c:v>
                </c:pt>
                <c:pt idx="6">
                  <c:v>0.20955945736429468</c:v>
                </c:pt>
                <c:pt idx="7">
                  <c:v>0.23817842059258379</c:v>
                </c:pt>
                <c:pt idx="8">
                  <c:v>0.13772118601552835</c:v>
                </c:pt>
                <c:pt idx="9">
                  <c:v>6.568136875285141E-2</c:v>
                </c:pt>
                <c:pt idx="10">
                  <c:v>1.417209039305146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2528706969333908E-2</c:v>
                </c:pt>
                <c:pt idx="1">
                  <c:v>2.7584241128280015E-3</c:v>
                </c:pt>
                <c:pt idx="3">
                  <c:v>7.7147957595130982E-3</c:v>
                </c:pt>
                <c:pt idx="4">
                  <c:v>5.9720868227180102E-4</c:v>
                </c:pt>
                <c:pt idx="5">
                  <c:v>3.1822717714722143E-2</c:v>
                </c:pt>
                <c:pt idx="6">
                  <c:v>1.9436485517554534E-2</c:v>
                </c:pt>
                <c:pt idx="7">
                  <c:v>0.11070641897637123</c:v>
                </c:pt>
                <c:pt idx="8">
                  <c:v>0.1157492746569071</c:v>
                </c:pt>
                <c:pt idx="9">
                  <c:v>6.4988796582005265E-2</c:v>
                </c:pt>
                <c:pt idx="10">
                  <c:v>1.415468564988960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3.9221858556222754E-2</c:v>
                </c:pt>
                <c:pt idx="5">
                  <c:v>3.348026652497092E-3</c:v>
                </c:pt>
                <c:pt idx="6">
                  <c:v>7.527079195789218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6225170171208116E-5</c:v>
                </c:pt>
                <c:pt idx="1">
                  <c:v>3.2573516509372845E-3</c:v>
                </c:pt>
                <c:pt idx="2">
                  <c:v>1.4171710929174392E-4</c:v>
                </c:pt>
                <c:pt idx="4">
                  <c:v>6.4344424756078303E-4</c:v>
                </c:pt>
                <c:pt idx="5">
                  <c:v>1.0633758389935783E-3</c:v>
                </c:pt>
                <c:pt idx="6">
                  <c:v>3.4317524055880594E-2</c:v>
                </c:pt>
                <c:pt idx="7">
                  <c:v>3.07400229481201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8892908657487751E-2</c:v>
                </c:pt>
                <c:pt idx="1">
                  <c:v>2.6234530280175973E-3</c:v>
                </c:pt>
                <c:pt idx="2">
                  <c:v>6.8810208637419172E-3</c:v>
                </c:pt>
                <c:pt idx="3">
                  <c:v>1.9317519375826108E-2</c:v>
                </c:pt>
                <c:pt idx="4">
                  <c:v>5.9162272102533366E-2</c:v>
                </c:pt>
                <c:pt idx="5">
                  <c:v>4.468645038974018E-2</c:v>
                </c:pt>
                <c:pt idx="6">
                  <c:v>8.0534655832967358E-2</c:v>
                </c:pt>
                <c:pt idx="7">
                  <c:v>9.6731978668092425E-2</c:v>
                </c:pt>
                <c:pt idx="8">
                  <c:v>2.1971911358621251E-2</c:v>
                </c:pt>
                <c:pt idx="9">
                  <c:v>6.9257217084613934E-4</c:v>
                </c:pt>
                <c:pt idx="10">
                  <c:v>1.7404743161856447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2.5950500144816132E-3</c:v>
                </c:pt>
                <c:pt idx="3">
                  <c:v>6.2333849229110944E-4</c:v>
                </c:pt>
                <c:pt idx="4">
                  <c:v>4.2693116150851855E-4</c:v>
                </c:pt>
                <c:pt idx="5">
                  <c:v>1.7076344744566142E-3</c:v>
                </c:pt>
                <c:pt idx="6">
                  <c:v>1.3050492529639898E-3</c:v>
                </c:pt>
                <c:pt idx="7">
                  <c:v>3.7376075122069301E-3</c:v>
                </c:pt>
                <c:pt idx="8">
                  <c:v>4.400884295346179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1538444864487149E-2</c:v>
                </c:pt>
                <c:pt idx="1">
                  <c:v>2.2455816405880067E-3</c:v>
                </c:pt>
                <c:pt idx="2">
                  <c:v>4.1885230269920557E-3</c:v>
                </c:pt>
                <c:pt idx="3">
                  <c:v>1.2191580212386761E-2</c:v>
                </c:pt>
                <c:pt idx="4">
                  <c:v>4.0900130612295076E-2</c:v>
                </c:pt>
                <c:pt idx="5">
                  <c:v>3.0290824771388659E-2</c:v>
                </c:pt>
                <c:pt idx="6">
                  <c:v>3.526116598956102E-2</c:v>
                </c:pt>
                <c:pt idx="7">
                  <c:v>5.7462202796276729E-2</c:v>
                </c:pt>
                <c:pt idx="8">
                  <c:v>0.11288989348996172</c:v>
                </c:pt>
                <c:pt idx="9">
                  <c:v>8.7798703652214219E-2</c:v>
                </c:pt>
                <c:pt idx="10">
                  <c:v>5.253549651773003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0024264569493114E-5</c:v>
                </c:pt>
                <c:pt idx="1">
                  <c:v>9.8906128992593074E-5</c:v>
                </c:pt>
                <c:pt idx="2">
                  <c:v>2.537641720139052E-4</c:v>
                </c:pt>
                <c:pt idx="3">
                  <c:v>2.0673242661649641E-4</c:v>
                </c:pt>
                <c:pt idx="4">
                  <c:v>3.8652567641025732E-4</c:v>
                </c:pt>
                <c:pt idx="5">
                  <c:v>1.3988485320325549E-2</c:v>
                </c:pt>
                <c:pt idx="6">
                  <c:v>6.1977304894725894E-3</c:v>
                </c:pt>
                <c:pt idx="7">
                  <c:v>2.1303176671005927E-3</c:v>
                </c:pt>
                <c:pt idx="8">
                  <c:v>8.5674035279462971E-4</c:v>
                </c:pt>
                <c:pt idx="10">
                  <c:v>5.865397416584743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4487758012653802E-3</c:v>
                </c:pt>
                <c:pt idx="1">
                  <c:v>1.6333675682140224E-3</c:v>
                </c:pt>
                <c:pt idx="2">
                  <c:v>1.846215325734985E-3</c:v>
                </c:pt>
                <c:pt idx="3">
                  <c:v>2.2268276247024201E-4</c:v>
                </c:pt>
                <c:pt idx="4">
                  <c:v>1.7035596453114199E-3</c:v>
                </c:pt>
                <c:pt idx="5">
                  <c:v>6.4884704108218189E-3</c:v>
                </c:pt>
                <c:pt idx="6">
                  <c:v>7.464840919491492E-3</c:v>
                </c:pt>
                <c:pt idx="7">
                  <c:v>1.3014956824255595E-2</c:v>
                </c:pt>
                <c:pt idx="8">
                  <c:v>1.1485134011645847E-2</c:v>
                </c:pt>
                <c:pt idx="9">
                  <c:v>1.1462806448551389E-2</c:v>
                </c:pt>
                <c:pt idx="10">
                  <c:v>7.8572759857284498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9070656070835368E-2</c:v>
                </c:pt>
                <c:pt idx="1">
                  <c:v>1.2379848818665103E-2</c:v>
                </c:pt>
                <c:pt idx="2">
                  <c:v>1.9418938396488967E-2</c:v>
                </c:pt>
                <c:pt idx="3">
                  <c:v>2.9056859792471086E-2</c:v>
                </c:pt>
                <c:pt idx="4">
                  <c:v>4.3588828633698187E-2</c:v>
                </c:pt>
                <c:pt idx="5">
                  <c:v>4.3611243023917876E-2</c:v>
                </c:pt>
                <c:pt idx="6">
                  <c:v>6.4586858898104102E-2</c:v>
                </c:pt>
                <c:pt idx="7">
                  <c:v>8.809789937786576E-2</c:v>
                </c:pt>
                <c:pt idx="8">
                  <c:v>8.2375848399723062E-2</c:v>
                </c:pt>
                <c:pt idx="9">
                  <c:v>1.6835937542966362E-2</c:v>
                </c:pt>
                <c:pt idx="10">
                  <c:v>7.95427937866713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060342799291042E-6</c:v>
                </c:pt>
                <c:pt idx="4">
                  <c:v>1.0888083777954995E-6</c:v>
                </c:pt>
                <c:pt idx="6">
                  <c:v>1.6528822814398294E-3</c:v>
                </c:pt>
                <c:pt idx="7">
                  <c:v>2.7908435969179008E-3</c:v>
                </c:pt>
                <c:pt idx="8">
                  <c:v>0.20811155267390913</c:v>
                </c:pt>
                <c:pt idx="9">
                  <c:v>3.6608107420895188E-2</c:v>
                </c:pt>
                <c:pt idx="10">
                  <c:v>0.3005643998345182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6011887908757345E-6</c:v>
                </c:pt>
                <c:pt idx="2">
                  <c:v>4.4121646681909131E-7</c:v>
                </c:pt>
                <c:pt idx="6">
                  <c:v>2.8136900702255784E-2</c:v>
                </c:pt>
                <c:pt idx="7">
                  <c:v>7.4357969195604168E-2</c:v>
                </c:pt>
                <c:pt idx="8">
                  <c:v>7.8280340887258131E-8</c:v>
                </c:pt>
                <c:pt idx="9">
                  <c:v>0.1409115449654304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Vache Qui Ri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1172739562999571E-6</c:v>
                </c:pt>
                <c:pt idx="6">
                  <c:v>4.8993530442947028E-4</c:v>
                </c:pt>
                <c:pt idx="7">
                  <c:v>5.8924672635528429E-3</c:v>
                </c:pt>
                <c:pt idx="9">
                  <c:v>3.561472989503588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0559677679700102E-3</c:v>
                </c:pt>
                <c:pt idx="2">
                  <c:v>2.9167923955687236E-2</c:v>
                </c:pt>
                <c:pt idx="3">
                  <c:v>3.1453681444016668E-3</c:v>
                </c:pt>
                <c:pt idx="4">
                  <c:v>1.5734576242966921E-2</c:v>
                </c:pt>
                <c:pt idx="5">
                  <c:v>1.4067589267378132E-2</c:v>
                </c:pt>
                <c:pt idx="6">
                  <c:v>4.2351728174448225E-3</c:v>
                </c:pt>
                <c:pt idx="7">
                  <c:v>8.2137811059921934E-2</c:v>
                </c:pt>
                <c:pt idx="8">
                  <c:v>9.0499546280027824E-3</c:v>
                </c:pt>
                <c:pt idx="9">
                  <c:v>7.0238814959748888E-4</c:v>
                </c:pt>
                <c:pt idx="10">
                  <c:v>2.375957790215432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070636178401637E-3</c:v>
                </c:pt>
                <c:pt idx="1">
                  <c:v>2.8111852108087237E-3</c:v>
                </c:pt>
                <c:pt idx="2">
                  <c:v>1.1733795016715527E-2</c:v>
                </c:pt>
                <c:pt idx="3">
                  <c:v>7.5748521230272065E-3</c:v>
                </c:pt>
                <c:pt idx="4">
                  <c:v>1.9009215663064603E-2</c:v>
                </c:pt>
                <c:pt idx="5">
                  <c:v>1.1686734111054545E-2</c:v>
                </c:pt>
                <c:pt idx="6">
                  <c:v>4.4282416000018393E-2</c:v>
                </c:pt>
                <c:pt idx="7">
                  <c:v>0.13481352044305056</c:v>
                </c:pt>
                <c:pt idx="8">
                  <c:v>0.11237839726299749</c:v>
                </c:pt>
                <c:pt idx="9">
                  <c:v>0.48396240184152367</c:v>
                </c:pt>
                <c:pt idx="10">
                  <c:v>0.1653404187098991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7">
                  <c:v>2.7049562776030312E-2</c:v>
                </c:pt>
                <c:pt idx="8">
                  <c:v>4.2746587078764671E-2</c:v>
                </c:pt>
                <c:pt idx="9">
                  <c:v>0.27813644559724826</c:v>
                </c:pt>
                <c:pt idx="10">
                  <c:v>0.1628828510979154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2928820236534203E-5</c:v>
                </c:pt>
                <c:pt idx="2">
                  <c:v>4.7118367084257985E-6</c:v>
                </c:pt>
                <c:pt idx="4">
                  <c:v>3.4187823005025577E-3</c:v>
                </c:pt>
                <c:pt idx="5">
                  <c:v>3.8619822582109498E-4</c:v>
                </c:pt>
                <c:pt idx="6">
                  <c:v>2.2537117206363508E-2</c:v>
                </c:pt>
                <c:pt idx="7">
                  <c:v>5.0549503590764343E-2</c:v>
                </c:pt>
                <c:pt idx="8">
                  <c:v>6.4183490413710756E-2</c:v>
                </c:pt>
                <c:pt idx="9">
                  <c:v>0.1155602086539201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Vache Qui Ri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7">
                  <c:v>5.3117914288242588E-3</c:v>
                </c:pt>
                <c:pt idx="8">
                  <c:v>1.1739368774773056E-4</c:v>
                </c:pt>
                <c:pt idx="9">
                  <c:v>9.02657475903552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6.3941347976036291E-3</c:v>
                </c:pt>
                <c:pt idx="1">
                  <c:v>2.8111852108087237E-3</c:v>
                </c:pt>
                <c:pt idx="2">
                  <c:v>1.1729083180007101E-2</c:v>
                </c:pt>
                <c:pt idx="3">
                  <c:v>7.5748521230272056E-3</c:v>
                </c:pt>
                <c:pt idx="4">
                  <c:v>1.5590433362562044E-2</c:v>
                </c:pt>
                <c:pt idx="5">
                  <c:v>1.1300535885233449E-2</c:v>
                </c:pt>
                <c:pt idx="6">
                  <c:v>2.1745298793654881E-2</c:v>
                </c:pt>
                <c:pt idx="7">
                  <c:v>5.1902662647431645E-2</c:v>
                </c:pt>
                <c:pt idx="8">
                  <c:v>5.3309260827743296E-3</c:v>
                </c:pt>
                <c:pt idx="10">
                  <c:v>2.457567611983694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7551825169099855E-3</c:v>
                </c:pt>
                <c:pt idx="1">
                  <c:v>1.1268512829684938E-3</c:v>
                </c:pt>
                <c:pt idx="2">
                  <c:v>3.8703371073333062E-2</c:v>
                </c:pt>
                <c:pt idx="3">
                  <c:v>1.0655250804924096E-2</c:v>
                </c:pt>
                <c:pt idx="4">
                  <c:v>8.443658709353704E-3</c:v>
                </c:pt>
                <c:pt idx="5">
                  <c:v>1.0672400633581458E-2</c:v>
                </c:pt>
                <c:pt idx="6">
                  <c:v>7.6999872366786709E-2</c:v>
                </c:pt>
                <c:pt idx="7">
                  <c:v>0.17887076019304027</c:v>
                </c:pt>
                <c:pt idx="8">
                  <c:v>0.22096490143235031</c:v>
                </c:pt>
                <c:pt idx="9">
                  <c:v>0.24223439627367618</c:v>
                </c:pt>
                <c:pt idx="10">
                  <c:v>0.2055733547130757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6">
                  <c:v>3.0564051072529343E-6</c:v>
                </c:pt>
                <c:pt idx="8">
                  <c:v>0.20018513890936712</c:v>
                </c:pt>
                <c:pt idx="9">
                  <c:v>5.4016300261237736E-2</c:v>
                </c:pt>
                <c:pt idx="10">
                  <c:v>0.2016702121909245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3.327519560285185E-4</c:v>
                </c:pt>
                <c:pt idx="6">
                  <c:v>6.7340471925928583E-2</c:v>
                </c:pt>
                <c:pt idx="7">
                  <c:v>9.9744563773166067E-2</c:v>
                </c:pt>
                <c:pt idx="8">
                  <c:v>1.982022111958949E-3</c:v>
                </c:pt>
                <c:pt idx="9">
                  <c:v>0.1882128605036899</c:v>
                </c:pt>
                <c:pt idx="10">
                  <c:v>3.901048318651740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3.5059513584447199E-3</c:v>
                </c:pt>
                <c:pt idx="2">
                  <c:v>2.4324966047018264E-2</c:v>
                </c:pt>
                <c:pt idx="3">
                  <c:v>8.7386301022509012E-3</c:v>
                </c:pt>
                <c:pt idx="4">
                  <c:v>4.7587378518509508E-3</c:v>
                </c:pt>
                <c:pt idx="5">
                  <c:v>3.2449683223420667E-3</c:v>
                </c:pt>
                <c:pt idx="6">
                  <c:v>7.4354978247168652E-3</c:v>
                </c:pt>
                <c:pt idx="7">
                  <c:v>1.5131356084496016E-2</c:v>
                </c:pt>
                <c:pt idx="8">
                  <c:v>4.092413238422521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492311584652656E-3</c:v>
                </c:pt>
                <c:pt idx="1">
                  <c:v>1.1268512829684938E-3</c:v>
                </c:pt>
                <c:pt idx="2">
                  <c:v>1.4378405026314798E-2</c:v>
                </c:pt>
                <c:pt idx="3">
                  <c:v>1.9166207026731941E-3</c:v>
                </c:pt>
                <c:pt idx="4">
                  <c:v>3.6849208575027528E-3</c:v>
                </c:pt>
                <c:pt idx="5">
                  <c:v>7.0946803552108736E-3</c:v>
                </c:pt>
                <c:pt idx="6">
                  <c:v>2.2208462110340187E-3</c:v>
                </c:pt>
                <c:pt idx="7">
                  <c:v>6.3994840335378195E-2</c:v>
                </c:pt>
                <c:pt idx="8">
                  <c:v>1.4705327172601706E-2</c:v>
                </c:pt>
                <c:pt idx="9">
                  <c:v>5.2355087485351191E-6</c:v>
                </c:pt>
                <c:pt idx="10">
                  <c:v>2.0942034994140474E-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8479999999999999</c:v>
                </c:pt>
                <c:pt idx="3">
                  <c:v>4.4400000000000002E-2</c:v>
                </c:pt>
                <c:pt idx="4">
                  <c:v>3.04E-2</c:v>
                </c:pt>
                <c:pt idx="5">
                  <c:v>0.1216</c:v>
                </c:pt>
                <c:pt idx="6">
                  <c:v>7.7700000000000005E-2</c:v>
                </c:pt>
                <c:pt idx="7">
                  <c:v>0.25459999999999999</c:v>
                </c:pt>
                <c:pt idx="8">
                  <c:v>0.2866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452095700271858E-2</c:v>
                </c:pt>
                <c:pt idx="1">
                  <c:v>6.9038415366902443E-3</c:v>
                </c:pt>
                <c:pt idx="2">
                  <c:v>3.8993138108884502E-2</c:v>
                </c:pt>
                <c:pt idx="3">
                  <c:v>9.2885754275378318E-2</c:v>
                </c:pt>
                <c:pt idx="4">
                  <c:v>0.12661389106941554</c:v>
                </c:pt>
                <c:pt idx="5">
                  <c:v>0.14139828617238459</c:v>
                </c:pt>
                <c:pt idx="6">
                  <c:v>8.327672553420401E-2</c:v>
                </c:pt>
                <c:pt idx="7">
                  <c:v>0.25943750265456544</c:v>
                </c:pt>
                <c:pt idx="8">
                  <c:v>0.16769832304927204</c:v>
                </c:pt>
                <c:pt idx="9">
                  <c:v>5.0813195599909045E-2</c:v>
                </c:pt>
                <c:pt idx="10">
                  <c:v>3.527246299024460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3.7256199349716392E-2</c:v>
                </c:pt>
                <c:pt idx="3">
                  <c:v>8.9490464544238445E-3</c:v>
                </c:pt>
                <c:pt idx="4">
                  <c:v>6.129297074432178E-3</c:v>
                </c:pt>
                <c:pt idx="5">
                  <c:v>2.4515893736835173E-2</c:v>
                </c:pt>
                <c:pt idx="6">
                  <c:v>1.5661540441294683E-2</c:v>
                </c:pt>
                <c:pt idx="7">
                  <c:v>5.1338440136598447E-2</c:v>
                </c:pt>
                <c:pt idx="8">
                  <c:v>5.778867381508910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8448348675945187E-2</c:v>
                </c:pt>
                <c:pt idx="1">
                  <c:v>6.9038415366902443E-3</c:v>
                </c:pt>
                <c:pt idx="2">
                  <c:v>1.7361982186284391E-3</c:v>
                </c:pt>
                <c:pt idx="3">
                  <c:v>1.8755435712991535E-3</c:v>
                </c:pt>
                <c:pt idx="4">
                  <c:v>0.10477416679766324</c:v>
                </c:pt>
                <c:pt idx="5">
                  <c:v>5.0671865007636957E-3</c:v>
                </c:pt>
                <c:pt idx="6">
                  <c:v>2.6783593228682716E-2</c:v>
                </c:pt>
                <c:pt idx="7">
                  <c:v>6.6655607066131453E-2</c:v>
                </c:pt>
                <c:pt idx="8">
                  <c:v>4.4421204234486155E-3</c:v>
                </c:pt>
                <c:pt idx="10">
                  <c:v>2.585926936375606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7.4054053967207621E-7</c:v>
                </c:pt>
                <c:pt idx="3">
                  <c:v>8.2060798596221757E-2</c:v>
                </c:pt>
                <c:pt idx="4">
                  <c:v>1.3735802625934962E-2</c:v>
                </c:pt>
                <c:pt idx="5">
                  <c:v>6.1588706809217263E-2</c:v>
                </c:pt>
                <c:pt idx="6">
                  <c:v>2.3195070431785789E-2</c:v>
                </c:pt>
                <c:pt idx="7">
                  <c:v>5.9000565638160689E-2</c:v>
                </c:pt>
                <c:pt idx="8">
                  <c:v>2.4630784631086092E-2</c:v>
                </c:pt>
                <c:pt idx="9">
                  <c:v>3.3171045320672899E-5</c:v>
                </c:pt>
                <c:pt idx="10">
                  <c:v>5.6986533599004805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9236787063778384E-3</c:v>
                </c:pt>
                <c:pt idx="5">
                  <c:v>9.3823032982912943E-3</c:v>
                </c:pt>
                <c:pt idx="6">
                  <c:v>5.4704191349204496E-3</c:v>
                </c:pt>
                <c:pt idx="7">
                  <c:v>6.9353981666997425E-2</c:v>
                </c:pt>
                <c:pt idx="8">
                  <c:v>4.7075678262511508E-2</c:v>
                </c:pt>
                <c:pt idx="9">
                  <c:v>4.8835529456781143E-2</c:v>
                </c:pt>
                <c:pt idx="10">
                  <c:v>3.2116670717878947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7470243266699317E-6</c:v>
                </c:pt>
                <c:pt idx="3">
                  <c:v>3.6565343355379327E-7</c:v>
                </c:pt>
                <c:pt idx="4">
                  <c:v>5.0945865007315628E-5</c:v>
                </c:pt>
                <c:pt idx="5">
                  <c:v>4.0844195827277142E-2</c:v>
                </c:pt>
                <c:pt idx="6">
                  <c:v>1.2166102297520376E-2</c:v>
                </c:pt>
                <c:pt idx="7">
                  <c:v>1.3088908146677429E-2</c:v>
                </c:pt>
                <c:pt idx="8">
                  <c:v>3.3761065917136714E-2</c:v>
                </c:pt>
                <c:pt idx="9">
                  <c:v>1.944495097807224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285</c:v>
                </c:pt>
                <c:pt idx="3">
                  <c:v>0.14899999999999999</c:v>
                </c:pt>
                <c:pt idx="4">
                  <c:v>2.6499999999999999E-2</c:v>
                </c:pt>
                <c:pt idx="5">
                  <c:v>0.106</c:v>
                </c:pt>
                <c:pt idx="6">
                  <c:v>9.4100000000000003E-2</c:v>
                </c:pt>
                <c:pt idx="7">
                  <c:v>0.25729999999999997</c:v>
                </c:pt>
                <c:pt idx="8">
                  <c:v>0.2384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381</c:v>
                </c:pt>
                <c:pt idx="3">
                  <c:v>0.16009999999999999</c:v>
                </c:pt>
                <c:pt idx="4">
                  <c:v>2.8400000000000002E-2</c:v>
                </c:pt>
                <c:pt idx="5">
                  <c:v>0.1139</c:v>
                </c:pt>
                <c:pt idx="6">
                  <c:v>7.6999999999999999E-2</c:v>
                </c:pt>
                <c:pt idx="7">
                  <c:v>0.24329999999999999</c:v>
                </c:pt>
                <c:pt idx="8">
                  <c:v>0.239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613377585847987E-2</c:v>
                </c:pt>
                <c:pt idx="1">
                  <c:v>1.56302030123537E-2</c:v>
                </c:pt>
                <c:pt idx="2">
                  <c:v>3.5294981321742719E-2</c:v>
                </c:pt>
                <c:pt idx="3">
                  <c:v>0.17153808610810198</c:v>
                </c:pt>
                <c:pt idx="4">
                  <c:v>0.13353047605469773</c:v>
                </c:pt>
                <c:pt idx="5">
                  <c:v>0.12917153792881839</c:v>
                </c:pt>
                <c:pt idx="6">
                  <c:v>7.2507313656684891E-2</c:v>
                </c:pt>
                <c:pt idx="7">
                  <c:v>0.21110141717184974</c:v>
                </c:pt>
                <c:pt idx="8">
                  <c:v>0.1733531988133058</c:v>
                </c:pt>
                <c:pt idx="9">
                  <c:v>1.9940538619508948E-2</c:v>
                </c:pt>
                <c:pt idx="10">
                  <c:v>9.3188697270881003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4.9284107444051948E-7</c:v>
                </c:pt>
                <c:pt idx="1">
                  <c:v>1.3956839788943221E-5</c:v>
                </c:pt>
                <c:pt idx="2">
                  <c:v>3.0743646429186058E-2</c:v>
                </c:pt>
                <c:pt idx="3">
                  <c:v>3.564450001734381E-2</c:v>
                </c:pt>
                <c:pt idx="4">
                  <c:v>6.3327037131317649E-3</c:v>
                </c:pt>
                <c:pt idx="5">
                  <c:v>2.5358413952695731E-2</c:v>
                </c:pt>
                <c:pt idx="6">
                  <c:v>1.714739853104838E-2</c:v>
                </c:pt>
                <c:pt idx="7">
                  <c:v>5.4161420006419936E-2</c:v>
                </c:pt>
                <c:pt idx="8">
                  <c:v>5.3248888056162243E-2</c:v>
                </c:pt>
                <c:pt idx="9">
                  <c:v>3.4603735013908812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0856614831110494E-5</c:v>
                </c:pt>
                <c:pt idx="1">
                  <c:v>5.0857004490138715E-6</c:v>
                </c:pt>
                <c:pt idx="2">
                  <c:v>3.5264351773265254E-5</c:v>
                </c:pt>
                <c:pt idx="3">
                  <c:v>0.13356059179014013</c:v>
                </c:pt>
                <c:pt idx="4">
                  <c:v>3.2745011116607166E-2</c:v>
                </c:pt>
                <c:pt idx="5">
                  <c:v>4.5656346239016515E-2</c:v>
                </c:pt>
                <c:pt idx="6">
                  <c:v>2.2933793156152984E-2</c:v>
                </c:pt>
                <c:pt idx="7">
                  <c:v>5.3053670560782258E-2</c:v>
                </c:pt>
                <c:pt idx="8">
                  <c:v>1.6505258068993306E-2</c:v>
                </c:pt>
                <c:pt idx="9">
                  <c:v>1.4804683726685523E-2</c:v>
                </c:pt>
                <c:pt idx="10">
                  <c:v>1.6951635764692421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8591776466415062E-2</c:v>
                </c:pt>
                <c:pt idx="1">
                  <c:v>1.5611160472115745E-2</c:v>
                </c:pt>
                <c:pt idx="2">
                  <c:v>4.5091497937806138E-3</c:v>
                </c:pt>
                <c:pt idx="3">
                  <c:v>2.2503123458954121E-3</c:v>
                </c:pt>
                <c:pt idx="4">
                  <c:v>9.2942297705621374E-2</c:v>
                </c:pt>
                <c:pt idx="5">
                  <c:v>5.9604618982048718E-3</c:v>
                </c:pt>
                <c:pt idx="6">
                  <c:v>3.4556862681935428E-3</c:v>
                </c:pt>
                <c:pt idx="7">
                  <c:v>3.8628411545534092E-2</c:v>
                </c:pt>
                <c:pt idx="8">
                  <c:v>4.4743153671999457E-2</c:v>
                </c:pt>
                <c:pt idx="10">
                  <c:v>4.3540936029773809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4.1209902607473226E-6</c:v>
                </c:pt>
                <c:pt idx="5">
                  <c:v>2.1621063767469275E-2</c:v>
                </c:pt>
                <c:pt idx="6">
                  <c:v>8.9742060403692619E-3</c:v>
                </c:pt>
                <c:pt idx="7">
                  <c:v>3.1776012162394951E-2</c:v>
                </c:pt>
                <c:pt idx="8">
                  <c:v>3.6309541860389913E-2</c:v>
                </c:pt>
                <c:pt idx="9">
                  <c:v>5.1323840333417263E-3</c:v>
                </c:pt>
                <c:pt idx="10">
                  <c:v>8.71394400914343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516635273738823E-7</c:v>
                </c:pt>
                <c:pt idx="2">
                  <c:v>6.9207470027817628E-6</c:v>
                </c:pt>
                <c:pt idx="3">
                  <c:v>8.2681954722627565E-5</c:v>
                </c:pt>
                <c:pt idx="4">
                  <c:v>1.5063425290766795E-3</c:v>
                </c:pt>
                <c:pt idx="5">
                  <c:v>3.0575252071432007E-2</c:v>
                </c:pt>
                <c:pt idx="6">
                  <c:v>1.9996229660920725E-2</c:v>
                </c:pt>
                <c:pt idx="7">
                  <c:v>3.3481902896718506E-2</c:v>
                </c:pt>
                <c:pt idx="8">
                  <c:v>2.254635715576089E-2</c:v>
                </c:pt>
                <c:pt idx="9">
                  <c:v>3.1248221315590384E-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5000000000000001E-3</c:v>
                </c:pt>
                <c:pt idx="1">
                  <c:v>8.0600000000000005E-2</c:v>
                </c:pt>
                <c:pt idx="2">
                  <c:v>0.14369999999999999</c:v>
                </c:pt>
                <c:pt idx="4">
                  <c:v>8.9999999999999998E-4</c:v>
                </c:pt>
                <c:pt idx="5">
                  <c:v>0.1731</c:v>
                </c:pt>
                <c:pt idx="6">
                  <c:v>0.13220000000000001</c:v>
                </c:pt>
                <c:pt idx="7">
                  <c:v>0.20599999999999999</c:v>
                </c:pt>
                <c:pt idx="8">
                  <c:v>0.26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9437627523840919E-2</c:v>
                </c:pt>
                <c:pt idx="1">
                  <c:v>1.7339094554510329E-2</c:v>
                </c:pt>
                <c:pt idx="2">
                  <c:v>4.8088716519655232E-2</c:v>
                </c:pt>
                <c:pt idx="3">
                  <c:v>0.20562364600569663</c:v>
                </c:pt>
                <c:pt idx="4">
                  <c:v>6.6748547419724566E-2</c:v>
                </c:pt>
                <c:pt idx="5">
                  <c:v>0.12200576981432011</c:v>
                </c:pt>
                <c:pt idx="6">
                  <c:v>4.6184937163428488E-2</c:v>
                </c:pt>
                <c:pt idx="7">
                  <c:v>0.2232454479683828</c:v>
                </c:pt>
                <c:pt idx="8">
                  <c:v>0.15135974545254935</c:v>
                </c:pt>
                <c:pt idx="9">
                  <c:v>8.959978013454500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7.4718342014114258E-4</c:v>
                </c:pt>
                <c:pt idx="1">
                  <c:v>1.7339094554510329E-2</c:v>
                </c:pt>
                <c:pt idx="2">
                  <c:v>3.0917818303169083E-2</c:v>
                </c:pt>
                <c:pt idx="4">
                  <c:v>1.9132431895118571E-4</c:v>
                </c:pt>
                <c:pt idx="5">
                  <c:v>3.7265307107165531E-2</c:v>
                </c:pt>
                <c:pt idx="6">
                  <c:v>2.8448033461384293E-2</c:v>
                </c:pt>
                <c:pt idx="7">
                  <c:v>4.4328122572103452E-2</c:v>
                </c:pt>
                <c:pt idx="8">
                  <c:v>5.598903528938735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4747136481628206E-2</c:v>
                </c:pt>
                <c:pt idx="2">
                  <c:v>1.3625819773384115E-3</c:v>
                </c:pt>
                <c:pt idx="3">
                  <c:v>0.12608331685803781</c:v>
                </c:pt>
                <c:pt idx="4">
                  <c:v>1.1732619958943502E-2</c:v>
                </c:pt>
                <c:pt idx="5">
                  <c:v>6.2114905007134369E-3</c:v>
                </c:pt>
                <c:pt idx="6">
                  <c:v>2.029408133441467E-3</c:v>
                </c:pt>
                <c:pt idx="7">
                  <c:v>3.6855776457379794E-2</c:v>
                </c:pt>
                <c:pt idx="8">
                  <c:v>4.412497174304146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9433076220715705E-3</c:v>
                </c:pt>
                <c:pt idx="2">
                  <c:v>1.5808316239147732E-2</c:v>
                </c:pt>
                <c:pt idx="3">
                  <c:v>7.9539672848540577E-2</c:v>
                </c:pt>
                <c:pt idx="4">
                  <c:v>4.6158947718345923E-2</c:v>
                </c:pt>
                <c:pt idx="5">
                  <c:v>3.5006207408320195E-2</c:v>
                </c:pt>
                <c:pt idx="6">
                  <c:v>1.0506928851688921E-2</c:v>
                </c:pt>
                <c:pt idx="7">
                  <c:v>9.1024631772222628E-2</c:v>
                </c:pt>
                <c:pt idx="8">
                  <c:v>1.4093734792729056E-2</c:v>
                </c:pt>
                <c:pt idx="9">
                  <c:v>1.3257242188576946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1.4569840425069714E-6</c:v>
                </c:pt>
                <c:pt idx="6">
                  <c:v>5.9329440289473069E-6</c:v>
                </c:pt>
                <c:pt idx="7">
                  <c:v>4.9444538616075701E-2</c:v>
                </c:pt>
                <c:pt idx="8">
                  <c:v>8.8206601492313936E-6</c:v>
                </c:pt>
                <c:pt idx="9">
                  <c:v>8.959845441032614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3">
                  <c:v>6.5629911824638341E-7</c:v>
                </c:pt>
                <c:pt idx="4">
                  <c:v>8.6656554234839627E-3</c:v>
                </c:pt>
                <c:pt idx="5">
                  <c:v>4.3521307814078439E-2</c:v>
                </c:pt>
                <c:pt idx="6">
                  <c:v>5.1946337728848548E-3</c:v>
                </c:pt>
                <c:pt idx="7">
                  <c:v>1.5923785506012002E-3</c:v>
                </c:pt>
                <c:pt idx="8">
                  <c:v>3.714318296724224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0.28499999999999998</c:v>
                </c:pt>
                <c:pt idx="7">
                  <c:v>0.21510000000000001</c:v>
                </c:pt>
                <c:pt idx="8">
                  <c:v>0.4999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4769469987927959E-2</c:v>
                </c:pt>
                <c:pt idx="2">
                  <c:v>2.3174585769354574E-3</c:v>
                </c:pt>
                <c:pt idx="3">
                  <c:v>5.4889164840494477E-2</c:v>
                </c:pt>
                <c:pt idx="4">
                  <c:v>2.1417116059667604E-2</c:v>
                </c:pt>
                <c:pt idx="5">
                  <c:v>5.4954785824171529E-2</c:v>
                </c:pt>
                <c:pt idx="6">
                  <c:v>0.14927955263464024</c:v>
                </c:pt>
                <c:pt idx="7">
                  <c:v>0.13229106377391028</c:v>
                </c:pt>
                <c:pt idx="8">
                  <c:v>0.31299472077907148</c:v>
                </c:pt>
                <c:pt idx="9">
                  <c:v>0.14351243301228028</c:v>
                </c:pt>
                <c:pt idx="10">
                  <c:v>0.1132490185854586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6">
                  <c:v>2.4908400446714014E-3</c:v>
                </c:pt>
                <c:pt idx="7">
                  <c:v>1.8803708507033347E-3</c:v>
                </c:pt>
                <c:pt idx="8">
                  <c:v>4.369274925996972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6">
                  <c:v>6.7580397135302726E-3</c:v>
                </c:pt>
                <c:pt idx="7">
                  <c:v>7.6792604187640604E-4</c:v>
                </c:pt>
                <c:pt idx="8">
                  <c:v>2.2935276614910325E-2</c:v>
                </c:pt>
                <c:pt idx="9">
                  <c:v>7.3021828060718733E-2</c:v>
                </c:pt>
                <c:pt idx="10">
                  <c:v>0.1054636419101056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t More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1.1985028367831106E-2</c:v>
                </c:pt>
                <c:pt idx="2">
                  <c:v>1.2722744909185247E-3</c:v>
                </c:pt>
                <c:pt idx="3">
                  <c:v>4.1117522494445613E-2</c:v>
                </c:pt>
                <c:pt idx="4">
                  <c:v>1.9643777086309891E-2</c:v>
                </c:pt>
                <c:pt idx="5">
                  <c:v>3.684323873362097E-2</c:v>
                </c:pt>
                <c:pt idx="6">
                  <c:v>5.2782584795062273E-2</c:v>
                </c:pt>
                <c:pt idx="7">
                  <c:v>1.9658859394885812E-2</c:v>
                </c:pt>
                <c:pt idx="8">
                  <c:v>9.889493820638589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2.5624963455585768E-4</c:v>
                </c:pt>
                <c:pt idx="5">
                  <c:v>8.625546990269144E-3</c:v>
                </c:pt>
                <c:pt idx="6">
                  <c:v>1.1454780717940091E-2</c:v>
                </c:pt>
                <c:pt idx="7">
                  <c:v>2.2883222378001097E-2</c:v>
                </c:pt>
                <c:pt idx="8">
                  <c:v>5.329542368167689E-2</c:v>
                </c:pt>
                <c:pt idx="9">
                  <c:v>7.2519363217122216E-3</c:v>
                </c:pt>
                <c:pt idx="10">
                  <c:v>8.0130730057553258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2.7844416200968536E-3</c:v>
                </c:pt>
                <c:pt idx="2">
                  <c:v>1.0451840860169327E-3</c:v>
                </c:pt>
                <c:pt idx="3">
                  <c:v>1.3771642346048864E-2</c:v>
                </c:pt>
                <c:pt idx="4">
                  <c:v>1.5170893388018554E-3</c:v>
                </c:pt>
                <c:pt idx="5">
                  <c:v>9.4860001002814182E-3</c:v>
                </c:pt>
                <c:pt idx="6">
                  <c:v>7.5793307363436188E-2</c:v>
                </c:pt>
                <c:pt idx="7">
                  <c:v>8.7100685108443654E-2</c:v>
                </c:pt>
                <c:pt idx="8">
                  <c:v>0.13349980735010133</c:v>
                </c:pt>
                <c:pt idx="9">
                  <c:v>6.3238668629849323E-2</c:v>
                </c:pt>
                <c:pt idx="10">
                  <c:v>6.984069374777432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0.32379999999999998</c:v>
                </c:pt>
                <c:pt idx="7">
                  <c:v>0.4461</c:v>
                </c:pt>
                <c:pt idx="8">
                  <c:v>0.23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0697147546730496E-2</c:v>
                </c:pt>
                <c:pt idx="1">
                  <c:v>2.762093286417321E-2</c:v>
                </c:pt>
                <c:pt idx="2">
                  <c:v>3.321975086399976E-2</c:v>
                </c:pt>
                <c:pt idx="3">
                  <c:v>5.0673883901639502E-2</c:v>
                </c:pt>
                <c:pt idx="4">
                  <c:v>8.0498478937970977E-2</c:v>
                </c:pt>
                <c:pt idx="5">
                  <c:v>0.11300954238676618</c:v>
                </c:pt>
                <c:pt idx="6">
                  <c:v>0.13054828460312656</c:v>
                </c:pt>
                <c:pt idx="7">
                  <c:v>0.16999688993527617</c:v>
                </c:pt>
                <c:pt idx="8">
                  <c:v>0.17596357403605911</c:v>
                </c:pt>
                <c:pt idx="9">
                  <c:v>0.1247508482589552</c:v>
                </c:pt>
                <c:pt idx="10">
                  <c:v>2.30206666653028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0921024996954196E-3</c:v>
                </c:pt>
                <c:pt idx="1">
                  <c:v>2.2013794513369753E-2</c:v>
                </c:pt>
                <c:pt idx="2">
                  <c:v>6.0164729451450899E-3</c:v>
                </c:pt>
                <c:pt idx="3">
                  <c:v>5.9948371208162959E-2</c:v>
                </c:pt>
                <c:pt idx="4">
                  <c:v>2.3502461461467138E-2</c:v>
                </c:pt>
                <c:pt idx="5">
                  <c:v>7.9254515665220515E-2</c:v>
                </c:pt>
                <c:pt idx="6">
                  <c:v>0.10057809753875296</c:v>
                </c:pt>
                <c:pt idx="7">
                  <c:v>0.25267661121730911</c:v>
                </c:pt>
                <c:pt idx="8">
                  <c:v>0.2504997063205352</c:v>
                </c:pt>
                <c:pt idx="9">
                  <c:v>0.15719468225499189</c:v>
                </c:pt>
                <c:pt idx="10">
                  <c:v>4.722318437535000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6">
                  <c:v>4.5806044136491907E-3</c:v>
                </c:pt>
                <c:pt idx="7">
                  <c:v>6.3101836833592551E-3</c:v>
                </c:pt>
                <c:pt idx="8">
                  <c:v>3.254666313604992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6">
                  <c:v>8.0028603535492416E-4</c:v>
                </c:pt>
                <c:pt idx="7">
                  <c:v>1.0742766677238561E-2</c:v>
                </c:pt>
                <c:pt idx="8">
                  <c:v>2.1433128089056962E-2</c:v>
                </c:pt>
                <c:pt idx="9">
                  <c:v>7.791538913009359E-2</c:v>
                </c:pt>
                <c:pt idx="10">
                  <c:v>3.967011577900203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t More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4725635203864748E-4</c:v>
                </c:pt>
                <c:pt idx="1">
                  <c:v>1.4215372774110923E-2</c:v>
                </c:pt>
                <c:pt idx="2">
                  <c:v>4.8549256504206023E-3</c:v>
                </c:pt>
                <c:pt idx="3">
                  <c:v>4.262140340943385E-2</c:v>
                </c:pt>
                <c:pt idx="4">
                  <c:v>1.8334792981554462E-2</c:v>
                </c:pt>
                <c:pt idx="5">
                  <c:v>2.6101512439191687E-2</c:v>
                </c:pt>
                <c:pt idx="6">
                  <c:v>4.2468163801257251E-2</c:v>
                </c:pt>
                <c:pt idx="7">
                  <c:v>6.5960171015402719E-2</c:v>
                </c:pt>
                <c:pt idx="8">
                  <c:v>6.180255259659155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Tartar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3.8421592720662911E-7</c:v>
                </c:pt>
                <c:pt idx="3">
                  <c:v>3.9207895083318342E-5</c:v>
                </c:pt>
                <c:pt idx="4">
                  <c:v>3.5994509643752759E-3</c:v>
                </c:pt>
                <c:pt idx="5">
                  <c:v>6.7906948442288109E-3</c:v>
                </c:pt>
                <c:pt idx="6">
                  <c:v>6.4855648512478995E-4</c:v>
                </c:pt>
                <c:pt idx="7">
                  <c:v>4.5601069406954228E-2</c:v>
                </c:pt>
                <c:pt idx="8">
                  <c:v>3.610527105383772E-2</c:v>
                </c:pt>
                <c:pt idx="9">
                  <c:v>1.5523163373035199E-2</c:v>
                </c:pt>
                <c:pt idx="10">
                  <c:v>3.788842610725780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8.4484614765677202E-4</c:v>
                </c:pt>
                <c:pt idx="1">
                  <c:v>7.7984217392588302E-3</c:v>
                </c:pt>
                <c:pt idx="2">
                  <c:v>1.1611630787972808E-3</c:v>
                </c:pt>
                <c:pt idx="3">
                  <c:v>1.7287759903645793E-2</c:v>
                </c:pt>
                <c:pt idx="4">
                  <c:v>1.5682175155374016E-3</c:v>
                </c:pt>
                <c:pt idx="5">
                  <c:v>4.6362308381800013E-2</c:v>
                </c:pt>
                <c:pt idx="6">
                  <c:v>5.208048680336682E-2</c:v>
                </c:pt>
                <c:pt idx="7">
                  <c:v>0.12406242043435431</c:v>
                </c:pt>
                <c:pt idx="8">
                  <c:v>0.12790408826744395</c:v>
                </c:pt>
                <c:pt idx="9">
                  <c:v>6.375612975186308E-2</c:v>
                </c:pt>
                <c:pt idx="10">
                  <c:v>3.764225985622193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1.84E-2</c:v>
                </c:pt>
                <c:pt idx="6">
                  <c:v>3.0800000000000001E-2</c:v>
                </c:pt>
                <c:pt idx="7">
                  <c:v>0.3725</c:v>
                </c:pt>
                <c:pt idx="8">
                  <c:v>0.5782000000000000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4.4185496993801796E-3</c:v>
                </c:pt>
                <c:pt idx="2">
                  <c:v>5.8867511383563073E-3</c:v>
                </c:pt>
                <c:pt idx="3">
                  <c:v>7.5681685289260239E-2</c:v>
                </c:pt>
                <c:pt idx="4">
                  <c:v>2.5426936831280101E-2</c:v>
                </c:pt>
                <c:pt idx="5">
                  <c:v>9.4771840334443316E-2</c:v>
                </c:pt>
                <c:pt idx="6">
                  <c:v>0.12889598069765412</c:v>
                </c:pt>
                <c:pt idx="7">
                  <c:v>0.13425471229470909</c:v>
                </c:pt>
                <c:pt idx="8">
                  <c:v>0.32909591222530005</c:v>
                </c:pt>
                <c:pt idx="9">
                  <c:v>0.10836522028352404</c:v>
                </c:pt>
                <c:pt idx="10">
                  <c:v>9.281769757231099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2.6312042361883014E-7</c:v>
                </c:pt>
                <c:pt idx="5">
                  <c:v>1.5578834041623694E-4</c:v>
                </c:pt>
                <c:pt idx="6">
                  <c:v>2.6057341791819983E-4</c:v>
                </c:pt>
                <c:pt idx="7">
                  <c:v>3.1474044080606668E-3</c:v>
                </c:pt>
                <c:pt idx="8">
                  <c:v>4.885009586371642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4.4173814446993118E-3</c:v>
                </c:pt>
                <c:pt idx="2">
                  <c:v>5.2218879271393025E-3</c:v>
                </c:pt>
                <c:pt idx="3">
                  <c:v>6.777826345130282E-2</c:v>
                </c:pt>
                <c:pt idx="4">
                  <c:v>2.2669203245781977E-2</c:v>
                </c:pt>
                <c:pt idx="5">
                  <c:v>6.7392423662108167E-2</c:v>
                </c:pt>
                <c:pt idx="6">
                  <c:v>1.8633009621187736E-2</c:v>
                </c:pt>
                <c:pt idx="7">
                  <c:v>3.2488299639938642E-2</c:v>
                </c:pt>
                <c:pt idx="8">
                  <c:v>9.942664059978237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8">
                  <c:v>2.4685547676057795E-2</c:v>
                </c:pt>
                <c:pt idx="9">
                  <c:v>4.175203301837152E-2</c:v>
                </c:pt>
                <c:pt idx="10">
                  <c:v>8.597560879987943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8615243730184993E-4</c:v>
                </c:pt>
                <c:pt idx="5">
                  <c:v>1.896502549652692E-2</c:v>
                </c:pt>
                <c:pt idx="6">
                  <c:v>1.726077346311387E-2</c:v>
                </c:pt>
                <c:pt idx="7">
                  <c:v>1.6311361300978516E-2</c:v>
                </c:pt>
                <c:pt idx="8">
                  <c:v>8.2465150831309508E-2</c:v>
                </c:pt>
                <c:pt idx="9">
                  <c:v>1.140012387078055E-2</c:v>
                </c:pt>
                <c:pt idx="10">
                  <c:v>8.3803854922597388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1.1682546808676057E-6</c:v>
                </c:pt>
                <c:pt idx="2">
                  <c:v>6.6486321121700463E-4</c:v>
                </c:pt>
                <c:pt idx="3">
                  <c:v>7.9034218379574143E-3</c:v>
                </c:pt>
                <c:pt idx="4">
                  <c:v>2.5713180277726552E-3</c:v>
                </c:pt>
                <c:pt idx="5">
                  <c:v>8.2586028353920007E-3</c:v>
                </c:pt>
                <c:pt idx="6">
                  <c:v>9.2741624195434316E-2</c:v>
                </c:pt>
                <c:pt idx="7">
                  <c:v>8.2307646945731269E-2</c:v>
                </c:pt>
                <c:pt idx="8">
                  <c:v>0.11763356353177873</c:v>
                </c:pt>
                <c:pt idx="9">
                  <c:v>5.5213063394371972E-2</c:v>
                </c:pt>
                <c:pt idx="10">
                  <c:v>6.004050223205581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184151077648034E-3</c:v>
                </c:pt>
                <c:pt idx="1">
                  <c:v>1.2433173216472356E-2</c:v>
                </c:pt>
                <c:pt idx="2">
                  <c:v>1.6653419563341498E-2</c:v>
                </c:pt>
                <c:pt idx="3">
                  <c:v>4.528856379315839E-2</c:v>
                </c:pt>
                <c:pt idx="4">
                  <c:v>6.0469880502980883E-2</c:v>
                </c:pt>
                <c:pt idx="5">
                  <c:v>6.8046692315063301E-2</c:v>
                </c:pt>
                <c:pt idx="6">
                  <c:v>0.10564996279910281</c:v>
                </c:pt>
                <c:pt idx="7">
                  <c:v>0.20914003576282764</c:v>
                </c:pt>
                <c:pt idx="8">
                  <c:v>0.18189208301942125</c:v>
                </c:pt>
                <c:pt idx="9">
                  <c:v>5.0891551137366327E-2</c:v>
                </c:pt>
                <c:pt idx="10">
                  <c:v>0.2431162227825007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0406870450386077E-4</c:v>
                </c:pt>
                <c:pt idx="1">
                  <c:v>5.648341745034556E-3</c:v>
                </c:pt>
                <c:pt idx="2">
                  <c:v>1.9483797523056189E-4</c:v>
                </c:pt>
                <c:pt idx="3">
                  <c:v>2.2247713587432619E-2</c:v>
                </c:pt>
                <c:pt idx="4">
                  <c:v>4.1343411473230188E-2</c:v>
                </c:pt>
                <c:pt idx="5">
                  <c:v>4.3725880508402653E-3</c:v>
                </c:pt>
                <c:pt idx="6">
                  <c:v>4.1440990923866085E-2</c:v>
                </c:pt>
                <c:pt idx="7">
                  <c:v>0.11830612581192236</c:v>
                </c:pt>
                <c:pt idx="8">
                  <c:v>0.13338433747979911</c:v>
                </c:pt>
                <c:pt idx="9">
                  <c:v>4.5186169508003936E-2</c:v>
                </c:pt>
                <c:pt idx="10">
                  <c:v>0.1990006993601412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0373462332664182E-6</c:v>
                </c:pt>
                <c:pt idx="1">
                  <c:v>3.0774919553610828E-5</c:v>
                </c:pt>
                <c:pt idx="4">
                  <c:v>2.0936176639641302E-4</c:v>
                </c:pt>
                <c:pt idx="5">
                  <c:v>1.1954430850568996E-2</c:v>
                </c:pt>
                <c:pt idx="6">
                  <c:v>1.5789455511649245E-2</c:v>
                </c:pt>
                <c:pt idx="7">
                  <c:v>3.608920183112923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4.4770126651555495E-5</c:v>
                </c:pt>
                <c:pt idx="1">
                  <c:v>1.6185829377370841E-3</c:v>
                </c:pt>
                <c:pt idx="2">
                  <c:v>6.2229069634481455E-4</c:v>
                </c:pt>
                <c:pt idx="3">
                  <c:v>1.6948547870356218E-3</c:v>
                </c:pt>
                <c:pt idx="4">
                  <c:v>9.7695163351760855E-3</c:v>
                </c:pt>
                <c:pt idx="5">
                  <c:v>3.5471246468041374E-2</c:v>
                </c:pt>
                <c:pt idx="6">
                  <c:v>1.2537394892261569E-2</c:v>
                </c:pt>
                <c:pt idx="7">
                  <c:v>1.3691035283868136E-2</c:v>
                </c:pt>
                <c:pt idx="8">
                  <c:v>1.4685893740976209E-2</c:v>
                </c:pt>
                <c:pt idx="9">
                  <c:v>1.3849072481170953E-3</c:v>
                </c:pt>
                <c:pt idx="10">
                  <c:v>2.932237903010498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5.7685389303761209E-3</c:v>
                </c:pt>
                <c:pt idx="1">
                  <c:v>5.1354736141471053E-3</c:v>
                </c:pt>
                <c:pt idx="2">
                  <c:v>1.5836290891766119E-2</c:v>
                </c:pt>
                <c:pt idx="3">
                  <c:v>2.1345995418690148E-2</c:v>
                </c:pt>
                <c:pt idx="4">
                  <c:v>9.1475909281781998E-3</c:v>
                </c:pt>
                <c:pt idx="5">
                  <c:v>1.6248426945612661E-2</c:v>
                </c:pt>
                <c:pt idx="6">
                  <c:v>3.5882121471325912E-2</c:v>
                </c:pt>
                <c:pt idx="7">
                  <c:v>4.1053672835907877E-2</c:v>
                </c:pt>
                <c:pt idx="8">
                  <c:v>3.3821851798645948E-2</c:v>
                </c:pt>
                <c:pt idx="9">
                  <c:v>4.3204743812452952E-3</c:v>
                </c:pt>
                <c:pt idx="10">
                  <c:v>1.479314439225454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2664777716174217E-2</c:v>
                </c:pt>
                <c:pt idx="1">
                  <c:v>1.455215005945285E-2</c:v>
                </c:pt>
                <c:pt idx="2">
                  <c:v>3.1793157987583059E-2</c:v>
                </c:pt>
                <c:pt idx="3">
                  <c:v>4.8197250418922831E-2</c:v>
                </c:pt>
                <c:pt idx="4">
                  <c:v>3.6172401739128751E-2</c:v>
                </c:pt>
                <c:pt idx="5">
                  <c:v>0.10756737889583758</c:v>
                </c:pt>
                <c:pt idx="6">
                  <c:v>0.1437797360274827</c:v>
                </c:pt>
                <c:pt idx="7">
                  <c:v>0.16541094068946494</c:v>
                </c:pt>
                <c:pt idx="8">
                  <c:v>0.17248314445239338</c:v>
                </c:pt>
                <c:pt idx="9">
                  <c:v>0.20438488641867086</c:v>
                </c:pt>
                <c:pt idx="10">
                  <c:v>6.299417559488881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3.8382250061494287E-8</c:v>
                </c:pt>
                <c:pt idx="1">
                  <c:v>1.086952655996785E-6</c:v>
                </c:pt>
                <c:pt idx="2">
                  <c:v>2.3943019083519984E-3</c:v>
                </c:pt>
                <c:pt idx="3">
                  <c:v>2.7759782695379711E-3</c:v>
                </c:pt>
                <c:pt idx="4">
                  <c:v>4.9318823062527006E-4</c:v>
                </c:pt>
                <c:pt idx="5">
                  <c:v>1.9749023285045237E-3</c:v>
                </c:pt>
                <c:pt idx="6">
                  <c:v>1.754079444177327E-3</c:v>
                </c:pt>
                <c:pt idx="7">
                  <c:v>4.7947915254000807E-3</c:v>
                </c:pt>
                <c:pt idx="8">
                  <c:v>4.4444628461473108E-3</c:v>
                </c:pt>
                <c:pt idx="9">
                  <c:v>2.6949239404878965E-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3069188362529549E-2</c:v>
                </c:pt>
                <c:pt idx="1">
                  <c:v>6.7719151245464616E-3</c:v>
                </c:pt>
                <c:pt idx="2">
                  <c:v>8.0226464748428782E-3</c:v>
                </c:pt>
                <c:pt idx="3">
                  <c:v>1.2031283771403632E-2</c:v>
                </c:pt>
                <c:pt idx="4">
                  <c:v>2.854363725578982E-2</c:v>
                </c:pt>
                <c:pt idx="5">
                  <c:v>4.0881534773557035E-2</c:v>
                </c:pt>
                <c:pt idx="6">
                  <c:v>4.5462132927523519E-2</c:v>
                </c:pt>
                <c:pt idx="7">
                  <c:v>5.1487648851214561E-2</c:v>
                </c:pt>
                <c:pt idx="8">
                  <c:v>7.984020946647484E-2</c:v>
                </c:pt>
                <c:pt idx="9">
                  <c:v>9.3795015616492172E-2</c:v>
                </c:pt>
                <c:pt idx="10">
                  <c:v>1.69619982772821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6949239404878965E-8</c:v>
                </c:pt>
                <c:pt idx="1">
                  <c:v>1.458582667390066E-4</c:v>
                </c:pt>
                <c:pt idx="2">
                  <c:v>7.0414034353771587E-4</c:v>
                </c:pt>
                <c:pt idx="3">
                  <c:v>3.6955655324634191E-4</c:v>
                </c:pt>
                <c:pt idx="4">
                  <c:v>3.3291007919560734E-3</c:v>
                </c:pt>
                <c:pt idx="5">
                  <c:v>1.3581920957382672E-2</c:v>
                </c:pt>
                <c:pt idx="6">
                  <c:v>5.2992037059156737E-3</c:v>
                </c:pt>
                <c:pt idx="7">
                  <c:v>2.363480144909E-3</c:v>
                </c:pt>
                <c:pt idx="8">
                  <c:v>7.6660378061651536E-4</c:v>
                </c:pt>
                <c:pt idx="9">
                  <c:v>4.1077174001982182E-7</c:v>
                </c:pt>
                <c:pt idx="10">
                  <c:v>4.9545768324060818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8179328086945236E-3</c:v>
                </c:pt>
                <c:pt idx="1">
                  <c:v>2.4154203123220035E-3</c:v>
                </c:pt>
                <c:pt idx="2">
                  <c:v>1.839366437101204E-3</c:v>
                </c:pt>
                <c:pt idx="3">
                  <c:v>9.6860466282844987E-4</c:v>
                </c:pt>
                <c:pt idx="4">
                  <c:v>2.224397570271275E-3</c:v>
                </c:pt>
                <c:pt idx="5">
                  <c:v>3.2821535836255375E-3</c:v>
                </c:pt>
                <c:pt idx="6">
                  <c:v>9.0204175644999721E-3</c:v>
                </c:pt>
                <c:pt idx="7">
                  <c:v>1.3447783159853934E-2</c:v>
                </c:pt>
                <c:pt idx="8">
                  <c:v>1.1212361717378827E-2</c:v>
                </c:pt>
                <c:pt idx="9">
                  <c:v>9.1256167787695814E-3</c:v>
                </c:pt>
                <c:pt idx="10">
                  <c:v>1.6332872366593312E-8</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5809961044016967E-2</c:v>
                </c:pt>
                <c:pt idx="1">
                  <c:v>1.8286652207909738E-2</c:v>
                </c:pt>
                <c:pt idx="2">
                  <c:v>2.0259295700165963E-2</c:v>
                </c:pt>
                <c:pt idx="3">
                  <c:v>3.4528460644623109E-2</c:v>
                </c:pt>
                <c:pt idx="4">
                  <c:v>4.5908155089328537E-2</c:v>
                </c:pt>
                <c:pt idx="5">
                  <c:v>5.3289030743696397E-2</c:v>
                </c:pt>
                <c:pt idx="6">
                  <c:v>6.901245096101008E-2</c:v>
                </c:pt>
                <c:pt idx="7">
                  <c:v>9.7903186253898558E-2</c:v>
                </c:pt>
                <c:pt idx="8">
                  <c:v>7.9699936225441595E-2</c:v>
                </c:pt>
                <c:pt idx="9">
                  <c:v>2.1829778142714036E-2</c:v>
                </c:pt>
                <c:pt idx="10">
                  <c:v>6.053697478315978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8193811307894463E-4</c:v>
                </c:pt>
                <c:pt idx="1">
                  <c:v>6.0173469111435029E-5</c:v>
                </c:pt>
                <c:pt idx="2">
                  <c:v>8.963845470016352E-3</c:v>
                </c:pt>
                <c:pt idx="3">
                  <c:v>2.3701830432512266E-2</c:v>
                </c:pt>
                <c:pt idx="4">
                  <c:v>1.3538136962298842E-2</c:v>
                </c:pt>
                <c:pt idx="5">
                  <c:v>5.2050714440147451E-2</c:v>
                </c:pt>
                <c:pt idx="6">
                  <c:v>6.6835411572889747E-2</c:v>
                </c:pt>
                <c:pt idx="7">
                  <c:v>7.8245022457428454E-2</c:v>
                </c:pt>
                <c:pt idx="8">
                  <c:v>0.12333337649728078</c:v>
                </c:pt>
                <c:pt idx="9">
                  <c:v>0.18253935133240679</c:v>
                </c:pt>
                <c:pt idx="10">
                  <c:v>3.198088980502364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8323074475378015E-6</c:v>
                </c:pt>
                <c:pt idx="3">
                  <c:v>8.0997722208184354E-7</c:v>
                </c:pt>
                <c:pt idx="4">
                  <c:v>3.4743737786523303E-3</c:v>
                </c:pt>
                <c:pt idx="5">
                  <c:v>1.0002058596302368E-2</c:v>
                </c:pt>
                <c:pt idx="6">
                  <c:v>2.3991525318064207E-2</c:v>
                </c:pt>
                <c:pt idx="7">
                  <c:v>3.013339969502842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7244676341097316E-7</c:v>
                </c:pt>
                <c:pt idx="1">
                  <c:v>6.8490106201391507E-4</c:v>
                </c:pt>
                <c:pt idx="2">
                  <c:v>5.0108326353681221E-4</c:v>
                </c:pt>
                <c:pt idx="3">
                  <c:v>3.149750585020419E-3</c:v>
                </c:pt>
                <c:pt idx="4">
                  <c:v>8.9383965082644908E-3</c:v>
                </c:pt>
                <c:pt idx="5">
                  <c:v>2.4433093545586246E-2</c:v>
                </c:pt>
                <c:pt idx="6">
                  <c:v>1.1380854080325055E-2</c:v>
                </c:pt>
                <c:pt idx="7">
                  <c:v>1.5430902186178689E-2</c:v>
                </c:pt>
                <c:pt idx="8">
                  <c:v>6.3719131336949552E-3</c:v>
                </c:pt>
                <c:pt idx="9">
                  <c:v>1.3821451317604578E-2</c:v>
                </c:pt>
                <c:pt idx="10">
                  <c:v>1.774418145546594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1979834848884326E-2</c:v>
                </c:pt>
                <c:pt idx="1">
                  <c:v>1.38070755283275E-2</c:v>
                </c:pt>
                <c:pt idx="2">
                  <c:v>2.2328229254029896E-2</c:v>
                </c:pt>
                <c:pt idx="3">
                  <c:v>2.1344859424168066E-2</c:v>
                </c:pt>
                <c:pt idx="4">
                  <c:v>1.0221494489913082E-2</c:v>
                </c:pt>
                <c:pt idx="5">
                  <c:v>2.1081512313801523E-2</c:v>
                </c:pt>
                <c:pt idx="6">
                  <c:v>4.1571945056203694E-2</c:v>
                </c:pt>
                <c:pt idx="7">
                  <c:v>4.1601616350829373E-2</c:v>
                </c:pt>
                <c:pt idx="8">
                  <c:v>4.2777854821417632E-2</c:v>
                </c:pt>
                <c:pt idx="9">
                  <c:v>8.0240837686595106E-3</c:v>
                </c:pt>
                <c:pt idx="10">
                  <c:v>1.326910433439923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233788397141476E-3</c:v>
                </c:pt>
                <c:pt idx="1">
                  <c:v>3.9175222582530523E-3</c:v>
                </c:pt>
                <c:pt idx="2">
                  <c:v>2.0573970079543279E-2</c:v>
                </c:pt>
                <c:pt idx="3">
                  <c:v>9.2174349105215783E-2</c:v>
                </c:pt>
                <c:pt idx="4">
                  <c:v>2.406388014634632E-2</c:v>
                </c:pt>
                <c:pt idx="5">
                  <c:v>8.1603425497824303E-2</c:v>
                </c:pt>
                <c:pt idx="6">
                  <c:v>0.1229698551242565</c:v>
                </c:pt>
                <c:pt idx="7">
                  <c:v>0.20932020763186437</c:v>
                </c:pt>
                <c:pt idx="8">
                  <c:v>0.14848773889644468</c:v>
                </c:pt>
                <c:pt idx="9">
                  <c:v>0.13344545786542822</c:v>
                </c:pt>
                <c:pt idx="10">
                  <c:v>0.1593202145551093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1.3363654757254455E-3</c:v>
                </c:pt>
                <c:pt idx="3">
                  <c:v>8.7012190295048905E-2</c:v>
                </c:pt>
                <c:pt idx="4">
                  <c:v>1.268574689640904E-3</c:v>
                </c:pt>
                <c:pt idx="5">
                  <c:v>1.0192482745461189E-3</c:v>
                </c:pt>
                <c:pt idx="6">
                  <c:v>3.1913976611991468E-2</c:v>
                </c:pt>
                <c:pt idx="7">
                  <c:v>0.11080357151802092</c:v>
                </c:pt>
                <c:pt idx="8">
                  <c:v>9.8545501973014871E-2</c:v>
                </c:pt>
                <c:pt idx="9">
                  <c:v>0.12773422056645714</c:v>
                </c:pt>
                <c:pt idx="10">
                  <c:v>0.1122901225403777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1388330782579099E-4</c:v>
                </c:pt>
                <c:pt idx="1">
                  <c:v>1.182099287038528E-3</c:v>
                </c:pt>
                <c:pt idx="2">
                  <c:v>3.7134657204931074E-4</c:v>
                </c:pt>
                <c:pt idx="3">
                  <c:v>3.8658096905670306E-3</c:v>
                </c:pt>
                <c:pt idx="4">
                  <c:v>1.8925822373788977E-2</c:v>
                </c:pt>
                <c:pt idx="5">
                  <c:v>5.1330828101471021E-2</c:v>
                </c:pt>
                <c:pt idx="6">
                  <c:v>2.4754917737717784E-2</c:v>
                </c:pt>
                <c:pt idx="7">
                  <c:v>2.6714253088929971E-2</c:v>
                </c:pt>
                <c:pt idx="8">
                  <c:v>2.276403682426777E-2</c:v>
                </c:pt>
                <c:pt idx="9">
                  <c:v>2.986582009986952E-3</c:v>
                </c:pt>
                <c:pt idx="10">
                  <c:v>3.729245017607318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0368088818749992E-3</c:v>
                </c:pt>
                <c:pt idx="5">
                  <c:v>2.0182016672363141E-2</c:v>
                </c:pt>
                <c:pt idx="6">
                  <c:v>2.3140351842732023E-2</c:v>
                </c:pt>
                <c:pt idx="7">
                  <c:v>4.068290986463614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0094955318883563E-3</c:v>
                </c:pt>
                <c:pt idx="1">
                  <c:v>2.7354229712145237E-3</c:v>
                </c:pt>
                <c:pt idx="2">
                  <c:v>1.8866258031768522E-2</c:v>
                </c:pt>
                <c:pt idx="3">
                  <c:v>1.2963491195998476E-3</c:v>
                </c:pt>
                <c:pt idx="4">
                  <c:v>2.8326742010414403E-3</c:v>
                </c:pt>
                <c:pt idx="5">
                  <c:v>9.0713324494440008E-3</c:v>
                </c:pt>
                <c:pt idx="6">
                  <c:v>4.3160608931815218E-2</c:v>
                </c:pt>
                <c:pt idx="7">
                  <c:v>3.1119473160277349E-2</c:v>
                </c:pt>
                <c:pt idx="8">
                  <c:v>2.7178200099162046E-2</c:v>
                </c:pt>
                <c:pt idx="9">
                  <c:v>2.7246552889841065E-3</c:v>
                </c:pt>
                <c:pt idx="10">
                  <c:v>9.737641838658467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233413980241707E-2</c:v>
                </c:pt>
                <c:pt idx="1">
                  <c:v>1.8516038253045791E-2</c:v>
                </c:pt>
                <c:pt idx="2">
                  <c:v>1.0825272627964894E-2</c:v>
                </c:pt>
                <c:pt idx="3">
                  <c:v>1.3085022230190355E-2</c:v>
                </c:pt>
                <c:pt idx="4">
                  <c:v>2.27156576849857E-2</c:v>
                </c:pt>
                <c:pt idx="5">
                  <c:v>0.15241475836441309</c:v>
                </c:pt>
                <c:pt idx="6">
                  <c:v>0.13260461332691367</c:v>
                </c:pt>
                <c:pt idx="7">
                  <c:v>0.14706949062230559</c:v>
                </c:pt>
                <c:pt idx="8">
                  <c:v>0.27489550926231998</c:v>
                </c:pt>
                <c:pt idx="9">
                  <c:v>0.18418147748810215</c:v>
                </c:pt>
                <c:pt idx="10">
                  <c:v>2.13580203373416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0239547921764041E-4</c:v>
                </c:pt>
                <c:pt idx="1">
                  <c:v>2.6155826392256924E-4</c:v>
                </c:pt>
                <c:pt idx="2">
                  <c:v>1.6105252827636695E-4</c:v>
                </c:pt>
                <c:pt idx="3">
                  <c:v>2.96035532044395E-7</c:v>
                </c:pt>
                <c:pt idx="4">
                  <c:v>4.327278483194817E-3</c:v>
                </c:pt>
                <c:pt idx="5">
                  <c:v>2.6641117272685588E-2</c:v>
                </c:pt>
                <c:pt idx="6">
                  <c:v>4.6877816897776911E-2</c:v>
                </c:pt>
                <c:pt idx="7">
                  <c:v>2.922080602178018E-3</c:v>
                </c:pt>
                <c:pt idx="8">
                  <c:v>0.15826895383529171</c:v>
                </c:pt>
                <c:pt idx="9">
                  <c:v>0.12122166244086677</c:v>
                </c:pt>
                <c:pt idx="10">
                  <c:v>1.459674356348779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3018037082867506E-4</c:v>
                </c:pt>
                <c:pt idx="1">
                  <c:v>6.4300171947890249E-4</c:v>
                </c:pt>
                <c:pt idx="2">
                  <c:v>1.6497541720523774E-3</c:v>
                </c:pt>
                <c:pt idx="3">
                  <c:v>1.3439946254130326E-3</c:v>
                </c:pt>
                <c:pt idx="4">
                  <c:v>2.512854128313462E-3</c:v>
                </c:pt>
                <c:pt idx="5">
                  <c:v>9.0940978132389619E-2</c:v>
                </c:pt>
                <c:pt idx="6">
                  <c:v>4.0292258954914076E-2</c:v>
                </c:pt>
                <c:pt idx="7">
                  <c:v>1.3849474617336882E-2</c:v>
                </c:pt>
                <c:pt idx="8">
                  <c:v>5.5697814241133974E-3</c:v>
                </c:pt>
                <c:pt idx="10">
                  <c:v>3.8131718051300349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1.9245152862007006E-4</c:v>
                </c:pt>
                <c:pt idx="3">
                  <c:v>4.6965543766289862E-3</c:v>
                </c:pt>
                <c:pt idx="5">
                  <c:v>3.7292206440384962E-3</c:v>
                </c:pt>
                <c:pt idx="6">
                  <c:v>9.8584916622859332E-3</c:v>
                </c:pt>
                <c:pt idx="7">
                  <c:v>6.7705722895600715E-2</c:v>
                </c:pt>
                <c:pt idx="8">
                  <c:v>3.59828161943956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001563952370753E-2</c:v>
                </c:pt>
                <c:pt idx="1">
                  <c:v>1.7611478269644317E-2</c:v>
                </c:pt>
                <c:pt idx="2">
                  <c:v>8.8220143990160784E-3</c:v>
                </c:pt>
                <c:pt idx="3">
                  <c:v>7.0441771926162905E-3</c:v>
                </c:pt>
                <c:pt idx="4">
                  <c:v>1.587552507347742E-2</c:v>
                </c:pt>
                <c:pt idx="5">
                  <c:v>3.1103442315299382E-2</c:v>
                </c:pt>
                <c:pt idx="6">
                  <c:v>3.5576045811936782E-2</c:v>
                </c:pt>
                <c:pt idx="7">
                  <c:v>6.2592212507189965E-2</c:v>
                </c:pt>
                <c:pt idx="8">
                  <c:v>7.5073957808519234E-2</c:v>
                </c:pt>
                <c:pt idx="9">
                  <c:v>6.2959815047235385E-2</c:v>
                </c:pt>
                <c:pt idx="10">
                  <c:v>6.723145055802576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72656352017654E-2</c:v>
                </c:pt>
                <c:pt idx="1">
                  <c:v>2.3212152827471175E-2</c:v>
                </c:pt>
                <c:pt idx="2">
                  <c:v>9.5276320472047864E-3</c:v>
                </c:pt>
                <c:pt idx="3">
                  <c:v>2.0834565919059692E-2</c:v>
                </c:pt>
                <c:pt idx="4">
                  <c:v>5.6280952496327273E-2</c:v>
                </c:pt>
                <c:pt idx="5">
                  <c:v>0.14858554007140801</c:v>
                </c:pt>
                <c:pt idx="6">
                  <c:v>0.13431405689832426</c:v>
                </c:pt>
                <c:pt idx="7">
                  <c:v>0.17459164325638374</c:v>
                </c:pt>
                <c:pt idx="8">
                  <c:v>0.24859878263049723</c:v>
                </c:pt>
                <c:pt idx="9">
                  <c:v>0.15784269013818414</c:v>
                </c:pt>
                <c:pt idx="10">
                  <c:v>6.439327363122094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1072206953701329E-4</c:v>
                </c:pt>
                <c:pt idx="1">
                  <c:v>9.8258963677779861E-7</c:v>
                </c:pt>
                <c:pt idx="2">
                  <c:v>5.3737979969518241E-4</c:v>
                </c:pt>
                <c:pt idx="3">
                  <c:v>3.7915792159768625E-3</c:v>
                </c:pt>
                <c:pt idx="4">
                  <c:v>1.74384459394888E-2</c:v>
                </c:pt>
                <c:pt idx="5">
                  <c:v>2.398886702522296E-2</c:v>
                </c:pt>
                <c:pt idx="6">
                  <c:v>2.8077040668504298E-2</c:v>
                </c:pt>
                <c:pt idx="7">
                  <c:v>2.4364165355091935E-2</c:v>
                </c:pt>
                <c:pt idx="8">
                  <c:v>0.11227914318733516</c:v>
                </c:pt>
                <c:pt idx="9">
                  <c:v>0.10566720078983508</c:v>
                </c:pt>
                <c:pt idx="10">
                  <c:v>6.364166892615614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6800755447496039E-7</c:v>
                </c:pt>
                <c:pt idx="1">
                  <c:v>9.0931288733664395E-4</c:v>
                </c:pt>
                <c:pt idx="2">
                  <c:v>4.389767568115952E-3</c:v>
                </c:pt>
                <c:pt idx="3">
                  <c:v>2.3038977767911605E-3</c:v>
                </c:pt>
                <c:pt idx="4">
                  <c:v>2.0754355039642937E-2</c:v>
                </c:pt>
                <c:pt idx="5">
                  <c:v>8.4672717134605294E-2</c:v>
                </c:pt>
                <c:pt idx="6">
                  <c:v>3.3036414939946537E-2</c:v>
                </c:pt>
                <c:pt idx="7">
                  <c:v>1.4734461081836587E-2</c:v>
                </c:pt>
                <c:pt idx="8">
                  <c:v>4.7791785325608238E-3</c:v>
                </c:pt>
                <c:pt idx="9">
                  <c:v>2.5608424212395474E-6</c:v>
                </c:pt>
                <c:pt idx="10">
                  <c:v>3.0887934333320745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3.5823283524473069E-4</c:v>
                </c:pt>
                <c:pt idx="3">
                  <c:v>7.7176408426039098E-3</c:v>
                </c:pt>
                <c:pt idx="4">
                  <c:v>1.4611566101307161E-6</c:v>
                </c:pt>
                <c:pt idx="5">
                  <c:v>2.6771749248684216E-4</c:v>
                </c:pt>
                <c:pt idx="6">
                  <c:v>2.7288245200244362E-2</c:v>
                </c:pt>
                <c:pt idx="7">
                  <c:v>4.7237192388286393E-2</c:v>
                </c:pt>
                <c:pt idx="8">
                  <c:v>4.7206900117100756E-2</c:v>
                </c:pt>
                <c:pt idx="9">
                  <c:v>4.533505667676302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9661766274926166E-2</c:v>
                </c:pt>
                <c:pt idx="1">
                  <c:v>2.2301857350497754E-2</c:v>
                </c:pt>
                <c:pt idx="2">
                  <c:v>4.2422518441489225E-3</c:v>
                </c:pt>
                <c:pt idx="3">
                  <c:v>7.0214480836877603E-3</c:v>
                </c:pt>
                <c:pt idx="4">
                  <c:v>1.8086690360585401E-2</c:v>
                </c:pt>
                <c:pt idx="5">
                  <c:v>3.9656238419092903E-2</c:v>
                </c:pt>
                <c:pt idx="6">
                  <c:v>4.5912356089629056E-2</c:v>
                </c:pt>
                <c:pt idx="7">
                  <c:v>8.8255824431168806E-2</c:v>
                </c:pt>
                <c:pt idx="8">
                  <c:v>8.4333560793500503E-2</c:v>
                </c:pt>
                <c:pt idx="9">
                  <c:v>5.1719577939160176E-2</c:v>
                </c:pt>
                <c:pt idx="10">
                  <c:v>4.4272536173159256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3E-3</c:v>
                </c:pt>
                <c:pt idx="1">
                  <c:v>7.6799999999999993E-2</c:v>
                </c:pt>
                <c:pt idx="2">
                  <c:v>0.13689999999999999</c:v>
                </c:pt>
                <c:pt idx="4">
                  <c:v>8.0000000000000004E-4</c:v>
                </c:pt>
                <c:pt idx="5">
                  <c:v>0.16589999999999999</c:v>
                </c:pt>
                <c:pt idx="6">
                  <c:v>0.12740000000000001</c:v>
                </c:pt>
                <c:pt idx="7">
                  <c:v>0.2137</c:v>
                </c:pt>
                <c:pt idx="8">
                  <c:v>0.2750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180570518301911E-2</c:v>
                </c:pt>
                <c:pt idx="1">
                  <c:v>7.1787501568152164E-3</c:v>
                </c:pt>
                <c:pt idx="2">
                  <c:v>7.4170086151862345E-3</c:v>
                </c:pt>
                <c:pt idx="3">
                  <c:v>1.2870735468148011E-2</c:v>
                </c:pt>
                <c:pt idx="4">
                  <c:v>6.6308669366560491E-2</c:v>
                </c:pt>
                <c:pt idx="5">
                  <c:v>0.16040717619239409</c:v>
                </c:pt>
                <c:pt idx="6">
                  <c:v>0.13239687151562307</c:v>
                </c:pt>
                <c:pt idx="7">
                  <c:v>0.17333995418547299</c:v>
                </c:pt>
                <c:pt idx="8">
                  <c:v>0.20746469137783644</c:v>
                </c:pt>
                <c:pt idx="9">
                  <c:v>0.13202397008973618</c:v>
                </c:pt>
                <c:pt idx="10">
                  <c:v>6.878646784920812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8336730136716521E-6</c:v>
                </c:pt>
                <c:pt idx="1">
                  <c:v>4.8682005239262548E-5</c:v>
                </c:pt>
                <c:pt idx="2">
                  <c:v>2.8813918186540743E-3</c:v>
                </c:pt>
                <c:pt idx="3">
                  <c:v>3.3094815121602729E-3</c:v>
                </c:pt>
                <c:pt idx="4">
                  <c:v>1.5610344208995217E-2</c:v>
                </c:pt>
                <c:pt idx="5">
                  <c:v>9.3941797251143294E-2</c:v>
                </c:pt>
                <c:pt idx="6">
                  <c:v>3.8529799961824956E-2</c:v>
                </c:pt>
                <c:pt idx="7">
                  <c:v>2.5987851347800527E-2</c:v>
                </c:pt>
                <c:pt idx="8">
                  <c:v>2.4451056016719266E-3</c:v>
                </c:pt>
                <c:pt idx="9">
                  <c:v>9.9924258903158255E-6</c:v>
                </c:pt>
                <c:pt idx="10">
                  <c:v>5.6549176369324639E-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5779084465603199E-4</c:v>
                </c:pt>
                <c:pt idx="1">
                  <c:v>9.5077186642930433E-7</c:v>
                </c:pt>
                <c:pt idx="2">
                  <c:v>2.3452372705256172E-5</c:v>
                </c:pt>
                <c:pt idx="3">
                  <c:v>2.4147741148742704E-4</c:v>
                </c:pt>
                <c:pt idx="4">
                  <c:v>2.5505033237120191E-2</c:v>
                </c:pt>
                <c:pt idx="5">
                  <c:v>5.2118020194195586E-3</c:v>
                </c:pt>
                <c:pt idx="6">
                  <c:v>4.7774440672096533E-2</c:v>
                </c:pt>
                <c:pt idx="7">
                  <c:v>1.0407614914575571E-2</c:v>
                </c:pt>
                <c:pt idx="8">
                  <c:v>8.0755051314214038E-2</c:v>
                </c:pt>
                <c:pt idx="9">
                  <c:v>5.3486659403018173E-2</c:v>
                </c:pt>
                <c:pt idx="10">
                  <c:v>6.878590235744443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4.8966056102102314E-3</c:v>
                </c:pt>
                <c:pt idx="1">
                  <c:v>6.8056063773153435E-3</c:v>
                </c:pt>
                <c:pt idx="3">
                  <c:v>6.5280120632940145E-5</c:v>
                </c:pt>
                <c:pt idx="4">
                  <c:v>1.1993396746461159E-4</c:v>
                </c:pt>
                <c:pt idx="5">
                  <c:v>1.5752040288069209E-2</c:v>
                </c:pt>
                <c:pt idx="6">
                  <c:v>1.5937875795687305E-2</c:v>
                </c:pt>
                <c:pt idx="7">
                  <c:v>5.3315421039937611E-2</c:v>
                </c:pt>
                <c:pt idx="8">
                  <c:v>1.3359245781636511E-2</c:v>
                </c:pt>
                <c:pt idx="9">
                  <c:v>6.982920980467764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6748475055139175E-2</c:v>
                </c:pt>
                <c:pt idx="1">
                  <c:v>3.2351100239418025E-4</c:v>
                </c:pt>
                <c:pt idx="2">
                  <c:v>4.5121644238269041E-3</c:v>
                </c:pt>
                <c:pt idx="3">
                  <c:v>9.2544964238673727E-3</c:v>
                </c:pt>
                <c:pt idx="4">
                  <c:v>2.5073357952980466E-2</c:v>
                </c:pt>
                <c:pt idx="5">
                  <c:v>4.5501536633762003E-2</c:v>
                </c:pt>
                <c:pt idx="6">
                  <c:v>3.0154755086014281E-2</c:v>
                </c:pt>
                <c:pt idx="7">
                  <c:v>8.3629066883159284E-2</c:v>
                </c:pt>
                <c:pt idx="8">
                  <c:v>0.11090528868031399</c:v>
                </c:pt>
                <c:pt idx="9">
                  <c:v>8.698108456150065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3951101757598065E-2</c:v>
                </c:pt>
                <c:pt idx="1">
                  <c:v>2.171650644987758E-2</c:v>
                </c:pt>
                <c:pt idx="2">
                  <c:v>4.1399587782975131E-2</c:v>
                </c:pt>
                <c:pt idx="3">
                  <c:v>2.1668009689674438E-2</c:v>
                </c:pt>
                <c:pt idx="4">
                  <c:v>5.2557201124251982E-2</c:v>
                </c:pt>
                <c:pt idx="5">
                  <c:v>6.3701696813513009E-2</c:v>
                </c:pt>
                <c:pt idx="6">
                  <c:v>0.13085829476746524</c:v>
                </c:pt>
                <c:pt idx="7">
                  <c:v>0.17790741654622319</c:v>
                </c:pt>
                <c:pt idx="8">
                  <c:v>0.38182493017031222</c:v>
                </c:pt>
                <c:pt idx="9">
                  <c:v>7.1585046101095867E-2</c:v>
                </c:pt>
                <c:pt idx="10">
                  <c:v>2.830208797013273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1623776833627002E-3</c:v>
                </c:pt>
                <c:pt idx="1">
                  <c:v>8.7656337149180381E-4</c:v>
                </c:pt>
                <c:pt idx="2">
                  <c:v>1.997401370399722E-2</c:v>
                </c:pt>
                <c:pt idx="3">
                  <c:v>1.6318094678739201E-3</c:v>
                </c:pt>
                <c:pt idx="4">
                  <c:v>6.8065736745573351E-3</c:v>
                </c:pt>
                <c:pt idx="5">
                  <c:v>4.2331941951958073E-2</c:v>
                </c:pt>
                <c:pt idx="6">
                  <c:v>1.0987943876921608E-2</c:v>
                </c:pt>
                <c:pt idx="7">
                  <c:v>0.10022590213000396</c:v>
                </c:pt>
                <c:pt idx="8">
                  <c:v>0.1956236050586164</c:v>
                </c:pt>
                <c:pt idx="9">
                  <c:v>6.9275193899495061E-2</c:v>
                </c:pt>
                <c:pt idx="10">
                  <c:v>2.573554570854617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5754374852480474E-4</c:v>
                </c:pt>
                <c:pt idx="2">
                  <c:v>8.0046715052893927E-4</c:v>
                </c:pt>
                <c:pt idx="3">
                  <c:v>2.5948633414850514E-7</c:v>
                </c:pt>
                <c:pt idx="4">
                  <c:v>3.273279241273426E-2</c:v>
                </c:pt>
                <c:pt idx="5">
                  <c:v>3.1311350987252953E-6</c:v>
                </c:pt>
                <c:pt idx="6">
                  <c:v>7.7690728652379942E-2</c:v>
                </c:pt>
                <c:pt idx="7">
                  <c:v>2.2557626459423118E-2</c:v>
                </c:pt>
                <c:pt idx="8">
                  <c:v>0.1138995715774357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2.1390953659405658E-3</c:v>
                </c:pt>
                <c:pt idx="4">
                  <c:v>1.0266638593046117E-4</c:v>
                </c:pt>
                <c:pt idx="6">
                  <c:v>2.2550160666894904E-2</c:v>
                </c:pt>
                <c:pt idx="7">
                  <c:v>2.6964534769534014E-3</c:v>
                </c:pt>
                <c:pt idx="8">
                  <c:v>4.87049399107866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243118032571056E-2</c:v>
                </c:pt>
                <c:pt idx="1">
                  <c:v>2.0839943078385777E-2</c:v>
                </c:pt>
                <c:pt idx="2">
                  <c:v>2.0625106928448968E-2</c:v>
                </c:pt>
                <c:pt idx="3">
                  <c:v>1.7896845369525804E-2</c:v>
                </c:pt>
                <c:pt idx="4">
                  <c:v>1.2915168651029919E-2</c:v>
                </c:pt>
                <c:pt idx="5">
                  <c:v>2.1366623726456209E-2</c:v>
                </c:pt>
                <c:pt idx="6">
                  <c:v>1.9629461571268787E-2</c:v>
                </c:pt>
                <c:pt idx="7">
                  <c:v>5.242743447984273E-2</c:v>
                </c:pt>
                <c:pt idx="8">
                  <c:v>2.3596813623473423E-2</c:v>
                </c:pt>
                <c:pt idx="9">
                  <c:v>2.3098522016008045E-3</c:v>
                </c:pt>
                <c:pt idx="10">
                  <c:v>2.566542261586557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6578369953938744E-2</c:v>
                </c:pt>
                <c:pt idx="1">
                  <c:v>3.9748049335277494E-2</c:v>
                </c:pt>
                <c:pt idx="2">
                  <c:v>3.6152583544337216E-2</c:v>
                </c:pt>
                <c:pt idx="3">
                  <c:v>2.5469849750860741E-2</c:v>
                </c:pt>
                <c:pt idx="4">
                  <c:v>6.4813880382745381E-2</c:v>
                </c:pt>
                <c:pt idx="5">
                  <c:v>8.5197700245182306E-2</c:v>
                </c:pt>
                <c:pt idx="6">
                  <c:v>0.17447621527054125</c:v>
                </c:pt>
                <c:pt idx="7">
                  <c:v>0.20259246306990597</c:v>
                </c:pt>
                <c:pt idx="8">
                  <c:v>0.20923515941614845</c:v>
                </c:pt>
                <c:pt idx="9">
                  <c:v>0.10072276476360653</c:v>
                </c:pt>
                <c:pt idx="10">
                  <c:v>5.012964267455894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7.2895615689523123E-3</c:v>
                </c:pt>
                <c:pt idx="1">
                  <c:v>1.2191397881004248E-2</c:v>
                </c:pt>
                <c:pt idx="2">
                  <c:v>1.0974375492565613E-2</c:v>
                </c:pt>
                <c:pt idx="3">
                  <c:v>2.2957743157416563E-3</c:v>
                </c:pt>
                <c:pt idx="4">
                  <c:v>1.2578924651319585E-2</c:v>
                </c:pt>
                <c:pt idx="5">
                  <c:v>5.5726885091712086E-2</c:v>
                </c:pt>
                <c:pt idx="6">
                  <c:v>3.0004173992332232E-2</c:v>
                </c:pt>
                <c:pt idx="7">
                  <c:v>0.1044620805993903</c:v>
                </c:pt>
                <c:pt idx="8">
                  <c:v>8.336121691648106E-2</c:v>
                </c:pt>
                <c:pt idx="9">
                  <c:v>9.0957371374645851E-2</c:v>
                </c:pt>
                <c:pt idx="10">
                  <c:v>4.17293774603411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6.7037277176314197E-5</c:v>
                </c:pt>
                <c:pt idx="2">
                  <c:v>2.1039368592767134E-5</c:v>
                </c:pt>
                <c:pt idx="3">
                  <c:v>1.2804621056102856E-5</c:v>
                </c:pt>
                <c:pt idx="4">
                  <c:v>3.2882094847373367E-2</c:v>
                </c:pt>
                <c:pt idx="5">
                  <c:v>1.6265488739259478E-2</c:v>
                </c:pt>
                <c:pt idx="6">
                  <c:v>7.8624434563229401E-2</c:v>
                </c:pt>
                <c:pt idx="7">
                  <c:v>5.0416138591354513E-2</c:v>
                </c:pt>
                <c:pt idx="8">
                  <c:v>7.905715147397755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5.2155196105875398E-3</c:v>
                </c:pt>
                <c:pt idx="4">
                  <c:v>1.9176191518417963E-3</c:v>
                </c:pt>
                <c:pt idx="5">
                  <c:v>2.2228582814683231E-5</c:v>
                </c:pt>
                <c:pt idx="6">
                  <c:v>2.1670370146516651E-2</c:v>
                </c:pt>
                <c:pt idx="7">
                  <c:v>3.1357634404897868E-3</c:v>
                </c:pt>
                <c:pt idx="8">
                  <c:v>3.452698005832101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9221771107810119E-2</c:v>
                </c:pt>
                <c:pt idx="1">
                  <c:v>2.7556651454273242E-2</c:v>
                </c:pt>
                <c:pt idx="2">
                  <c:v>2.515716868317883E-2</c:v>
                </c:pt>
                <c:pt idx="3">
                  <c:v>1.7945751203475444E-2</c:v>
                </c:pt>
                <c:pt idx="4">
                  <c:v>1.743524173221063E-2</c:v>
                </c:pt>
                <c:pt idx="5">
                  <c:v>1.3183097831396064E-2</c:v>
                </c:pt>
                <c:pt idx="6">
                  <c:v>4.417723656846298E-2</c:v>
                </c:pt>
                <c:pt idx="7">
                  <c:v>4.457848043867136E-2</c:v>
                </c:pt>
                <c:pt idx="8">
                  <c:v>1.228981096736885E-2</c:v>
                </c:pt>
                <c:pt idx="9">
                  <c:v>9.7653933889606855E-3</c:v>
                </c:pt>
                <c:pt idx="10">
                  <c:v>8.4002652142177578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16974831059355E-2</c:v>
                </c:pt>
                <c:pt idx="1">
                  <c:v>1.5471007476381237E-2</c:v>
                </c:pt>
                <c:pt idx="2">
                  <c:v>2.8116529382288598E-2</c:v>
                </c:pt>
                <c:pt idx="3">
                  <c:v>6.0924029525371806E-2</c:v>
                </c:pt>
                <c:pt idx="4">
                  <c:v>9.3187425528592355E-2</c:v>
                </c:pt>
                <c:pt idx="5">
                  <c:v>9.3289653501717223E-2</c:v>
                </c:pt>
                <c:pt idx="6">
                  <c:v>0.10624332582688127</c:v>
                </c:pt>
                <c:pt idx="7">
                  <c:v>0.17288833054716357</c:v>
                </c:pt>
                <c:pt idx="8">
                  <c:v>0.17090235363397566</c:v>
                </c:pt>
                <c:pt idx="9">
                  <c:v>0.13659252312310796</c:v>
                </c:pt>
                <c:pt idx="10">
                  <c:v>5.821507314392683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150705379299439E-2</c:v>
                </c:pt>
                <c:pt idx="1">
                  <c:v>9.0902853088647602E-3</c:v>
                </c:pt>
                <c:pt idx="2">
                  <c:v>1.6253323699152004E-2</c:v>
                </c:pt>
                <c:pt idx="3">
                  <c:v>1.2374473445219698E-2</c:v>
                </c:pt>
                <c:pt idx="4">
                  <c:v>5.2044058253641889E-2</c:v>
                </c:pt>
                <c:pt idx="5">
                  <c:v>9.1526042103984434E-2</c:v>
                </c:pt>
                <c:pt idx="6">
                  <c:v>0.20203294286153259</c:v>
                </c:pt>
                <c:pt idx="7">
                  <c:v>0.15911147347283777</c:v>
                </c:pt>
                <c:pt idx="8">
                  <c:v>0.36684529217071971</c:v>
                </c:pt>
                <c:pt idx="9">
                  <c:v>7.921505489105275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3">
                  <c:v>2.0899562649838795E-3</c:v>
                </c:pt>
                <c:pt idx="4">
                  <c:v>4.2185404740382765E-2</c:v>
                </c:pt>
                <c:pt idx="5">
                  <c:v>1.4575780542626026E-3</c:v>
                </c:pt>
                <c:pt idx="6">
                  <c:v>0.12407181931779919</c:v>
                </c:pt>
                <c:pt idx="7">
                  <c:v>2.5947318948741912E-2</c:v>
                </c:pt>
                <c:pt idx="8">
                  <c:v>0.1386662609956675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1.2371282471877402E-3</c:v>
                </c:pt>
                <c:pt idx="2">
                  <c:v>1.3954287994129417E-2</c:v>
                </c:pt>
                <c:pt idx="3">
                  <c:v>5.5065899910778969E-3</c:v>
                </c:pt>
                <c:pt idx="4">
                  <c:v>5.8299284924079823E-3</c:v>
                </c:pt>
                <c:pt idx="5">
                  <c:v>7.9707656351761191E-2</c:v>
                </c:pt>
                <c:pt idx="6">
                  <c:v>2.6179522847495355E-2</c:v>
                </c:pt>
                <c:pt idx="7">
                  <c:v>8.0365178624578398E-2</c:v>
                </c:pt>
                <c:pt idx="8">
                  <c:v>0.12693046692371843</c:v>
                </c:pt>
                <c:pt idx="9">
                  <c:v>7.921505489105275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1.4137223668398494E-7</c:v>
                </c:pt>
                <c:pt idx="3">
                  <c:v>2.2215637193197631E-7</c:v>
                </c:pt>
                <c:pt idx="4">
                  <c:v>1.3127421977798601E-7</c:v>
                </c:pt>
                <c:pt idx="6">
                  <c:v>2.4006328629155329E-2</c:v>
                </c:pt>
                <c:pt idx="7">
                  <c:v>1.0861124043585262E-3</c:v>
                </c:pt>
                <c:pt idx="8">
                  <c:v>7.850165019267774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150705379299439E-2</c:v>
                </c:pt>
                <c:pt idx="1">
                  <c:v>7.8531570616770206E-3</c:v>
                </c:pt>
                <c:pt idx="2">
                  <c:v>2.2988943327859031E-3</c:v>
                </c:pt>
                <c:pt idx="3">
                  <c:v>4.7777050327859885E-3</c:v>
                </c:pt>
                <c:pt idx="4">
                  <c:v>4.0285937466313648E-3</c:v>
                </c:pt>
                <c:pt idx="5">
                  <c:v>1.0360807697960639E-2</c:v>
                </c:pt>
                <c:pt idx="6">
                  <c:v>2.7775272067082742E-2</c:v>
                </c:pt>
                <c:pt idx="7">
                  <c:v>5.1712863495158932E-2</c:v>
                </c:pt>
                <c:pt idx="8">
                  <c:v>2.274691405865604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229236969787683E-2</c:v>
                </c:pt>
                <c:pt idx="1">
                  <c:v>3.4208146091019583E-2</c:v>
                </c:pt>
                <c:pt idx="2">
                  <c:v>4.638899137720838E-2</c:v>
                </c:pt>
                <c:pt idx="3">
                  <c:v>4.2363038609228514E-2</c:v>
                </c:pt>
                <c:pt idx="4">
                  <c:v>7.3599001227352384E-2</c:v>
                </c:pt>
                <c:pt idx="5">
                  <c:v>0.21666215265832334</c:v>
                </c:pt>
                <c:pt idx="6">
                  <c:v>0.35850197330543987</c:v>
                </c:pt>
                <c:pt idx="7">
                  <c:v>0.11680761238296966</c:v>
                </c:pt>
                <c:pt idx="8">
                  <c:v>4.7250813869102577E-2</c:v>
                </c:pt>
                <c:pt idx="9">
                  <c:v>2.298885181058734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2067234970202518E-4</c:v>
                </c:pt>
                <c:pt idx="1">
                  <c:v>2.8405607312913979E-6</c:v>
                </c:pt>
                <c:pt idx="2">
                  <c:v>2.000832835447843E-3</c:v>
                </c:pt>
                <c:pt idx="3">
                  <c:v>2.0922698191585174E-3</c:v>
                </c:pt>
                <c:pt idx="4">
                  <c:v>1.9837289047332017E-3</c:v>
                </c:pt>
                <c:pt idx="5">
                  <c:v>1.335072022992722E-2</c:v>
                </c:pt>
                <c:pt idx="6">
                  <c:v>0.20974885772815974</c:v>
                </c:pt>
                <c:pt idx="7">
                  <c:v>0.10680264267358276</c:v>
                </c:pt>
                <c:pt idx="8">
                  <c:v>5.3849702939730822E-3</c:v>
                </c:pt>
                <c:pt idx="9">
                  <c:v>1.240867158143028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5.6932347279614364E-7</c:v>
                </c:pt>
                <c:pt idx="1">
                  <c:v>2.3792966706217691E-2</c:v>
                </c:pt>
                <c:pt idx="2">
                  <c:v>3.1812117972593569E-2</c:v>
                </c:pt>
                <c:pt idx="4">
                  <c:v>2.1253269203768297E-3</c:v>
                </c:pt>
                <c:pt idx="5">
                  <c:v>0.1233043866264559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1224575664137333E-3</c:v>
                </c:pt>
                <c:pt idx="2">
                  <c:v>2.8526376568739032E-3</c:v>
                </c:pt>
                <c:pt idx="3">
                  <c:v>5.1450610165164013E-3</c:v>
                </c:pt>
                <c:pt idx="4">
                  <c:v>5.7721799067503875E-2</c:v>
                </c:pt>
                <c:pt idx="5">
                  <c:v>1.2534031764833841E-2</c:v>
                </c:pt>
                <c:pt idx="6">
                  <c:v>8.6587668068377394E-2</c:v>
                </c:pt>
                <c:pt idx="8">
                  <c:v>1.8426081517454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9985537730199132E-2</c:v>
                </c:pt>
                <c:pt idx="1">
                  <c:v>1.0412338824070604E-2</c:v>
                </c:pt>
                <c:pt idx="2">
                  <c:v>9.7234029122930648E-3</c:v>
                </c:pt>
                <c:pt idx="3">
                  <c:v>3.5125707773553602E-2</c:v>
                </c:pt>
                <c:pt idx="4">
                  <c:v>1.1768146334738484E-2</c:v>
                </c:pt>
                <c:pt idx="5">
                  <c:v>6.7473014037106302E-2</c:v>
                </c:pt>
                <c:pt idx="6">
                  <c:v>6.2165447508902738E-2</c:v>
                </c:pt>
                <c:pt idx="7">
                  <c:v>1.0004969709386895E-2</c:v>
                </c:pt>
                <c:pt idx="8">
                  <c:v>2.3439762057674576E-2</c:v>
                </c:pt>
                <c:pt idx="9">
                  <c:v>1.058018022915705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3220514636903894E-2</c:v>
                </c:pt>
                <c:pt idx="1">
                  <c:v>1.2441037528871992E-2</c:v>
                </c:pt>
                <c:pt idx="2">
                  <c:v>8.7624574801509106E-2</c:v>
                </c:pt>
                <c:pt idx="3">
                  <c:v>3.0282854374379737E-2</c:v>
                </c:pt>
                <c:pt idx="4">
                  <c:v>0.14027776593737548</c:v>
                </c:pt>
                <c:pt idx="5">
                  <c:v>0.28950622024873895</c:v>
                </c:pt>
                <c:pt idx="6">
                  <c:v>0.21798642705429877</c:v>
                </c:pt>
                <c:pt idx="7">
                  <c:v>5.658159874439702E-2</c:v>
                </c:pt>
                <c:pt idx="8">
                  <c:v>9.8827159824716446E-2</c:v>
                </c:pt>
                <c:pt idx="9">
                  <c:v>1.325184684880861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3375518511576435E-3</c:v>
                </c:pt>
                <c:pt idx="1">
                  <c:v>2.1602037164684789E-5</c:v>
                </c:pt>
                <c:pt idx="2">
                  <c:v>9.2131917006053315E-3</c:v>
                </c:pt>
                <c:pt idx="3">
                  <c:v>3.275023134431676E-5</c:v>
                </c:pt>
                <c:pt idx="4">
                  <c:v>1.4103430013893581E-3</c:v>
                </c:pt>
                <c:pt idx="5">
                  <c:v>4.3140155444401931E-2</c:v>
                </c:pt>
                <c:pt idx="6">
                  <c:v>0.11246984924594039</c:v>
                </c:pt>
                <c:pt idx="7">
                  <c:v>4.5377856469198716E-2</c:v>
                </c:pt>
                <c:pt idx="8">
                  <c:v>1.7636134591646855E-3</c:v>
                </c:pt>
                <c:pt idx="9">
                  <c:v>6.143889395100912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1180255460291005E-3</c:v>
                </c:pt>
                <c:pt idx="2">
                  <c:v>5.0127102914921035E-2</c:v>
                </c:pt>
                <c:pt idx="3">
                  <c:v>1.7280858230420521E-3</c:v>
                </c:pt>
                <c:pt idx="4">
                  <c:v>2.6365247784431421E-2</c:v>
                </c:pt>
                <c:pt idx="5">
                  <c:v>0.1007955683112156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1">
                  <c:v>2.1212428994393153E-4</c:v>
                </c:pt>
                <c:pt idx="2">
                  <c:v>9.317537255124032E-3</c:v>
                </c:pt>
                <c:pt idx="3">
                  <c:v>2.6069029849810682E-4</c:v>
                </c:pt>
                <c:pt idx="4">
                  <c:v>6.6651696969245763E-2</c:v>
                </c:pt>
                <c:pt idx="5">
                  <c:v>2.5915848261273244E-2</c:v>
                </c:pt>
                <c:pt idx="6">
                  <c:v>7.5755991257501265E-2</c:v>
                </c:pt>
                <c:pt idx="8">
                  <c:v>2.07393058054201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4764937239717154E-2</c:v>
                </c:pt>
                <c:pt idx="1">
                  <c:v>1.2207311201763375E-2</c:v>
                </c:pt>
                <c:pt idx="2">
                  <c:v>1.8966742930858708E-2</c:v>
                </c:pt>
                <c:pt idx="3">
                  <c:v>2.8261328021495263E-2</c:v>
                </c:pt>
                <c:pt idx="4">
                  <c:v>4.5850478182308925E-2</c:v>
                </c:pt>
                <c:pt idx="5">
                  <c:v>0.11965464823184818</c:v>
                </c:pt>
                <c:pt idx="6">
                  <c:v>2.9760586550857119E-2</c:v>
                </c:pt>
                <c:pt idx="7">
                  <c:v>1.1203742275198304E-2</c:v>
                </c:pt>
                <c:pt idx="8">
                  <c:v>7.6324240560131568E-2</c:v>
                </c:pt>
                <c:pt idx="9">
                  <c:v>7.107957453707702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1847693416567174E-2</c:v>
                </c:pt>
                <c:pt idx="1">
                  <c:v>8.6420771688770298E-2</c:v>
                </c:pt>
                <c:pt idx="2">
                  <c:v>1.4979502724817682E-2</c:v>
                </c:pt>
                <c:pt idx="3">
                  <c:v>3.8435745481682639E-2</c:v>
                </c:pt>
                <c:pt idx="4">
                  <c:v>9.221361436269071E-2</c:v>
                </c:pt>
                <c:pt idx="5">
                  <c:v>0.23543198442819938</c:v>
                </c:pt>
                <c:pt idx="6">
                  <c:v>0.18117729862300258</c:v>
                </c:pt>
                <c:pt idx="7">
                  <c:v>0.20368518910803782</c:v>
                </c:pt>
                <c:pt idx="8">
                  <c:v>9.7217979514334779E-2</c:v>
                </c:pt>
                <c:pt idx="9">
                  <c:v>2.859022065189690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4.0445270971862031E-5</c:v>
                </c:pt>
                <c:pt idx="1">
                  <c:v>9.3857058221585713E-4</c:v>
                </c:pt>
                <c:pt idx="2">
                  <c:v>1.67359112290561E-3</c:v>
                </c:pt>
                <c:pt idx="4">
                  <c:v>1.037420774120156E-5</c:v>
                </c:pt>
                <c:pt idx="5">
                  <c:v>2.0276996874485178E-3</c:v>
                </c:pt>
                <c:pt idx="6">
                  <c:v>1.5574917945494827E-3</c:v>
                </c:pt>
                <c:pt idx="7">
                  <c:v>2.6119712875011234E-3</c:v>
                </c:pt>
                <c:pt idx="8">
                  <c:v>3.36048305869494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709575451865134E-2</c:v>
                </c:pt>
                <c:pt idx="1">
                  <c:v>2.1376147062245193E-3</c:v>
                </c:pt>
                <c:pt idx="2">
                  <c:v>2.6652669057921669E-3</c:v>
                </c:pt>
                <c:pt idx="3">
                  <c:v>2.4662535640707573E-2</c:v>
                </c:pt>
                <c:pt idx="4">
                  <c:v>4.45585303038303E-2</c:v>
                </c:pt>
                <c:pt idx="5">
                  <c:v>2.4833097961049617E-2</c:v>
                </c:pt>
                <c:pt idx="6">
                  <c:v>2.2501610407288115E-2</c:v>
                </c:pt>
                <c:pt idx="7">
                  <c:v>6.3916576005616621E-2</c:v>
                </c:pt>
                <c:pt idx="8">
                  <c:v>7.9913084957174543E-2</c:v>
                </c:pt>
                <c:pt idx="9">
                  <c:v>0.10666311283914565</c:v>
                </c:pt>
                <c:pt idx="10">
                  <c:v>5.269110274009989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1658698560818508E-3</c:v>
                </c:pt>
                <c:pt idx="1">
                  <c:v>8.959646396638982E-4</c:v>
                </c:pt>
                <c:pt idx="2">
                  <c:v>1.3220034602917333E-3</c:v>
                </c:pt>
                <c:pt idx="3">
                  <c:v>4.2025595118015072E-4</c:v>
                </c:pt>
                <c:pt idx="4">
                  <c:v>5.8769030685128796E-3</c:v>
                </c:pt>
                <c:pt idx="5">
                  <c:v>1.1446712251356579E-2</c:v>
                </c:pt>
                <c:pt idx="6">
                  <c:v>7.7241962709556798E-3</c:v>
                </c:pt>
                <c:pt idx="7">
                  <c:v>1.9110164590909029E-2</c:v>
                </c:pt>
                <c:pt idx="8">
                  <c:v>1.3334039337449676E-2</c:v>
                </c:pt>
                <c:pt idx="9">
                  <c:v>1.3008429469742575E-2</c:v>
                </c:pt>
                <c:pt idx="10">
                  <c:v>9.7941445126612574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Richesmont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441726336491115E-2</c:v>
                </c:pt>
                <c:pt idx="1">
                  <c:v>4.585391295448984E-4</c:v>
                </c:pt>
                <c:pt idx="2">
                  <c:v>2.9427153258224249E-3</c:v>
                </c:pt>
                <c:pt idx="3">
                  <c:v>4.8568856122759501E-4</c:v>
                </c:pt>
                <c:pt idx="4">
                  <c:v>4.1863455935319212E-6</c:v>
                </c:pt>
                <c:pt idx="5">
                  <c:v>5.6649242052325201E-6</c:v>
                </c:pt>
                <c:pt idx="6">
                  <c:v>3.4989948251709609E-5</c:v>
                </c:pt>
                <c:pt idx="7">
                  <c:v>1.4651854320607352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9450415299977354E-2</c:v>
                </c:pt>
                <c:pt idx="1">
                  <c:v>1.1040318418732065E-2</c:v>
                </c:pt>
                <c:pt idx="2">
                  <c:v>1.9512952567476659E-2</c:v>
                </c:pt>
                <c:pt idx="3">
                  <c:v>3.5355549372256483E-2</c:v>
                </c:pt>
                <c:pt idx="4">
                  <c:v>4.273743160291444E-2</c:v>
                </c:pt>
                <c:pt idx="5">
                  <c:v>5.4976478677657287E-2</c:v>
                </c:pt>
                <c:pt idx="6">
                  <c:v>7.4425037405836281E-2</c:v>
                </c:pt>
                <c:pt idx="7">
                  <c:v>8.7103100119930707E-2</c:v>
                </c:pt>
                <c:pt idx="8">
                  <c:v>7.4294746280656465E-2</c:v>
                </c:pt>
                <c:pt idx="9">
                  <c:v>1.6920980814219718E-2</c:v>
                </c:pt>
                <c:pt idx="10">
                  <c:v>5.426028958700333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4.2428664933548254E-3</c:v>
                </c:pt>
                <c:pt idx="3">
                  <c:v>9.8194024376712114E-3</c:v>
                </c:pt>
                <c:pt idx="4">
                  <c:v>1.1778201192094651E-2</c:v>
                </c:pt>
                <c:pt idx="5">
                  <c:v>2.2363432229188829E-6</c:v>
                </c:pt>
                <c:pt idx="6">
                  <c:v>1.1011135466633473E-2</c:v>
                </c:pt>
                <c:pt idx="7">
                  <c:v>0.19000214688949399</c:v>
                </c:pt>
                <c:pt idx="8">
                  <c:v>4.5250168772540678E-2</c:v>
                </c:pt>
                <c:pt idx="9">
                  <c:v>1.820416690695460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0456139789913159E-3</c:v>
                </c:pt>
                <c:pt idx="1">
                  <c:v>7.5389509133130556E-2</c:v>
                </c:pt>
                <c:pt idx="2">
                  <c:v>7.0250202079780166E-3</c:v>
                </c:pt>
                <c:pt idx="4">
                  <c:v>2.5381543944715312E-2</c:v>
                </c:pt>
                <c:pt idx="5">
                  <c:v>0.156770800323479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5.3686511881263308E-3</c:v>
                </c:pt>
                <c:pt idx="4">
                  <c:v>3.5295110706602621E-2</c:v>
                </c:pt>
                <c:pt idx="6">
                  <c:v>0.12133356286779519</c:v>
                </c:pt>
                <c:pt idx="7">
                  <c:v>5.0100273823574029E-3</c:v>
                </c:pt>
                <c:pt idx="8">
                  <c:v>2.720587661513941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8802079437575857E-2</c:v>
                </c:pt>
                <c:pt idx="1">
                  <c:v>1.1031262555639744E-2</c:v>
                </c:pt>
                <c:pt idx="2">
                  <c:v>3.7116160234848396E-3</c:v>
                </c:pt>
                <c:pt idx="3">
                  <c:v>2.3247691855885096E-2</c:v>
                </c:pt>
                <c:pt idx="4">
                  <c:v>1.9758758519278136E-2</c:v>
                </c:pt>
                <c:pt idx="5">
                  <c:v>7.8658947761496567E-2</c:v>
                </c:pt>
                <c:pt idx="6">
                  <c:v>4.8832600288573919E-2</c:v>
                </c:pt>
                <c:pt idx="7">
                  <c:v>8.6730148361864323E-3</c:v>
                </c:pt>
                <c:pt idx="8">
                  <c:v>2.4761934126654679E-2</c:v>
                </c:pt>
                <c:pt idx="9">
                  <c:v>1.038605374494229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9498331266352525</c:v>
                </c:pt>
                <c:pt idx="1">
                  <c:v>1.2898740235923686E-2</c:v>
                </c:pt>
                <c:pt idx="2">
                  <c:v>1.7945797245864717E-2</c:v>
                </c:pt>
                <c:pt idx="3">
                  <c:v>2.9439778517212502E-2</c:v>
                </c:pt>
                <c:pt idx="4">
                  <c:v>9.6515302301864808E-2</c:v>
                </c:pt>
                <c:pt idx="5">
                  <c:v>8.4406928367194101E-2</c:v>
                </c:pt>
                <c:pt idx="6">
                  <c:v>0.18499548315225822</c:v>
                </c:pt>
                <c:pt idx="7">
                  <c:v>0.25423962509260389</c:v>
                </c:pt>
                <c:pt idx="8">
                  <c:v>0.10017514101023534</c:v>
                </c:pt>
                <c:pt idx="9">
                  <c:v>2.0524173093343596E-2</c:v>
                </c:pt>
                <c:pt idx="10">
                  <c:v>3.8757183199738727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8865693651208953E-2</c:v>
                </c:pt>
                <c:pt idx="1">
                  <c:v>1.597352639820093E-3</c:v>
                </c:pt>
                <c:pt idx="2">
                  <c:v>1.8386094103793419E-5</c:v>
                </c:pt>
                <c:pt idx="3">
                  <c:v>7.3486517224377271E-3</c:v>
                </c:pt>
                <c:pt idx="4">
                  <c:v>1.2772791325125798E-2</c:v>
                </c:pt>
                <c:pt idx="5">
                  <c:v>4.9915516131305994E-2</c:v>
                </c:pt>
                <c:pt idx="6">
                  <c:v>3.0033433731189212E-2</c:v>
                </c:pt>
                <c:pt idx="7">
                  <c:v>0.1150925878033594</c:v>
                </c:pt>
                <c:pt idx="8">
                  <c:v>7.2603903415943416E-2</c:v>
                </c:pt>
                <c:pt idx="9">
                  <c:v>1.893268156719603E-2</c:v>
                </c:pt>
                <c:pt idx="10">
                  <c:v>3.7254307485164256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3.2172449604721029E-2</c:v>
                </c:pt>
                <c:pt idx="5">
                  <c:v>3.2735132775573851E-3</c:v>
                </c:pt>
                <c:pt idx="6">
                  <c:v>6.4594512741243129E-2</c:v>
                </c:pt>
                <c:pt idx="7">
                  <c:v>4.075327447505704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ve D'Affino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9023622314289713E-4</c:v>
                </c:pt>
                <c:pt idx="2">
                  <c:v>5.5560065311747217E-4</c:v>
                </c:pt>
                <c:pt idx="3">
                  <c:v>4.8825271761337026E-4</c:v>
                </c:pt>
                <c:pt idx="4">
                  <c:v>7.5686202940650389E-4</c:v>
                </c:pt>
                <c:pt idx="5">
                  <c:v>2.646069271653E-3</c:v>
                </c:pt>
                <c:pt idx="6">
                  <c:v>9.0237576035883196E-4</c:v>
                </c:pt>
                <c:pt idx="7">
                  <c:v>2.7493884713361373E-2</c:v>
                </c:pt>
                <c:pt idx="8">
                  <c:v>3.94409865691543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0.12592738278917343</c:v>
                </c:pt>
                <c:pt idx="1">
                  <c:v>1.1301387596103593E-2</c:v>
                </c:pt>
                <c:pt idx="2">
                  <c:v>1.7371810498643451E-2</c:v>
                </c:pt>
                <c:pt idx="3">
                  <c:v>2.1602874077161403E-2</c:v>
                </c:pt>
                <c:pt idx="4">
                  <c:v>5.081319934261147E-2</c:v>
                </c:pt>
                <c:pt idx="5">
                  <c:v>2.8571829686677729E-2</c:v>
                </c:pt>
                <c:pt idx="6">
                  <c:v>8.9465160919467046E-2</c:v>
                </c:pt>
                <c:pt idx="7">
                  <c:v>0.10757782512837744</c:v>
                </c:pt>
                <c:pt idx="8">
                  <c:v>2.7176827728600368E-2</c:v>
                </c:pt>
                <c:pt idx="9">
                  <c:v>1.591491526147567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25131734248297161</c:v>
                </c:pt>
                <c:pt idx="1">
                  <c:v>2.3995313180558159E-2</c:v>
                </c:pt>
                <c:pt idx="2">
                  <c:v>1.7913651730790934E-2</c:v>
                </c:pt>
                <c:pt idx="3">
                  <c:v>4.7597097714130857E-2</c:v>
                </c:pt>
                <c:pt idx="4">
                  <c:v>9.6518899672269634E-2</c:v>
                </c:pt>
                <c:pt idx="5">
                  <c:v>0.11494751174683011</c:v>
                </c:pt>
                <c:pt idx="6">
                  <c:v>0.17365993639694649</c:v>
                </c:pt>
                <c:pt idx="7">
                  <c:v>0.17952376942204418</c:v>
                </c:pt>
                <c:pt idx="8">
                  <c:v>8.2893600058558198E-2</c:v>
                </c:pt>
                <c:pt idx="9">
                  <c:v>1.0852694598812915E-2</c:v>
                </c:pt>
                <c:pt idx="10">
                  <c:v>7.801829960868735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9.0782490226790774E-2</c:v>
                </c:pt>
                <c:pt idx="1">
                  <c:v>3.6498678989089948E-3</c:v>
                </c:pt>
                <c:pt idx="2">
                  <c:v>1.3021314977468314E-4</c:v>
                </c:pt>
                <c:pt idx="3">
                  <c:v>2.4115791299788969E-2</c:v>
                </c:pt>
                <c:pt idx="4">
                  <c:v>3.4095393137324376E-2</c:v>
                </c:pt>
                <c:pt idx="5">
                  <c:v>5.0090418365926447E-2</c:v>
                </c:pt>
                <c:pt idx="6">
                  <c:v>4.3030400579000906E-2</c:v>
                </c:pt>
                <c:pt idx="7">
                  <c:v>8.4587082630668844E-2</c:v>
                </c:pt>
                <c:pt idx="8">
                  <c:v>1.8760286273090294E-2</c:v>
                </c:pt>
                <c:pt idx="9">
                  <c:v>7.899963053851185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2.6529993479664411E-2</c:v>
                </c:pt>
                <c:pt idx="5">
                  <c:v>1.5983326112948473E-2</c:v>
                </c:pt>
                <c:pt idx="6">
                  <c:v>3.6642299154613651E-2</c:v>
                </c:pt>
                <c:pt idx="7">
                  <c:v>7.044404733553281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ocha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5422420267787064E-2</c:v>
                </c:pt>
                <c:pt idx="1">
                  <c:v>7.2585754055184613E-7</c:v>
                </c:pt>
                <c:pt idx="2">
                  <c:v>9.4233387764583793E-5</c:v>
                </c:pt>
                <c:pt idx="3">
                  <c:v>4.4496063510883832E-3</c:v>
                </c:pt>
                <c:pt idx="4">
                  <c:v>7.903706201560306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0.13511243198839379</c:v>
                </c:pt>
                <c:pt idx="1">
                  <c:v>2.0344719424108614E-2</c:v>
                </c:pt>
                <c:pt idx="2">
                  <c:v>1.7689205193251671E-2</c:v>
                </c:pt>
                <c:pt idx="3">
                  <c:v>1.9031700063253505E-2</c:v>
                </c:pt>
                <c:pt idx="4">
                  <c:v>2.7989806853720534E-2</c:v>
                </c:pt>
                <c:pt idx="5">
                  <c:v>4.8873767267955191E-2</c:v>
                </c:pt>
                <c:pt idx="6">
                  <c:v>9.3987236663331947E-2</c:v>
                </c:pt>
                <c:pt idx="7">
                  <c:v>8.7892282057822069E-2</c:v>
                </c:pt>
                <c:pt idx="8">
                  <c:v>6.413331378546791E-2</c:v>
                </c:pt>
                <c:pt idx="9">
                  <c:v>2.9527315449617295E-3</c:v>
                </c:pt>
                <c:pt idx="10">
                  <c:v>7.80182996086873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1144784079699287</c:v>
                </c:pt>
                <c:pt idx="1">
                  <c:v>8.6392287917828828E-3</c:v>
                </c:pt>
                <c:pt idx="2">
                  <c:v>7.0227379730336608E-3</c:v>
                </c:pt>
                <c:pt idx="3">
                  <c:v>2.7032315135339206E-2</c:v>
                </c:pt>
                <c:pt idx="4">
                  <c:v>9.96247835885887E-2</c:v>
                </c:pt>
                <c:pt idx="5">
                  <c:v>8.0920570595953006E-2</c:v>
                </c:pt>
                <c:pt idx="6">
                  <c:v>0.20955945736429468</c:v>
                </c:pt>
                <c:pt idx="7">
                  <c:v>0.23817842059258379</c:v>
                </c:pt>
                <c:pt idx="8">
                  <c:v>0.13772118601552835</c:v>
                </c:pt>
                <c:pt idx="9">
                  <c:v>6.568136875285141E-2</c:v>
                </c:pt>
                <c:pt idx="10">
                  <c:v>1.417209039305146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2528706969333908E-2</c:v>
                </c:pt>
                <c:pt idx="1">
                  <c:v>2.7584241128280015E-3</c:v>
                </c:pt>
                <c:pt idx="3">
                  <c:v>7.7147957595130982E-3</c:v>
                </c:pt>
                <c:pt idx="4">
                  <c:v>5.9720868227180102E-4</c:v>
                </c:pt>
                <c:pt idx="5">
                  <c:v>3.1822717714722143E-2</c:v>
                </c:pt>
                <c:pt idx="6">
                  <c:v>1.9436485517554534E-2</c:v>
                </c:pt>
                <c:pt idx="7">
                  <c:v>0.11070641897637123</c:v>
                </c:pt>
                <c:pt idx="8">
                  <c:v>0.1157492746569071</c:v>
                </c:pt>
                <c:pt idx="9">
                  <c:v>6.4988796582005265E-2</c:v>
                </c:pt>
                <c:pt idx="10">
                  <c:v>1.415468564988960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3.9221858556222754E-2</c:v>
                </c:pt>
                <c:pt idx="5">
                  <c:v>3.348026652497092E-3</c:v>
                </c:pt>
                <c:pt idx="6">
                  <c:v>7.527079195789218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6225170171208116E-5</c:v>
                </c:pt>
                <c:pt idx="1">
                  <c:v>3.2573516509372845E-3</c:v>
                </c:pt>
                <c:pt idx="2">
                  <c:v>1.4171710929174392E-4</c:v>
                </c:pt>
                <c:pt idx="4">
                  <c:v>6.4344424756078303E-4</c:v>
                </c:pt>
                <c:pt idx="5">
                  <c:v>1.0633758389935783E-3</c:v>
                </c:pt>
                <c:pt idx="6">
                  <c:v>3.4317524055880594E-2</c:v>
                </c:pt>
                <c:pt idx="7">
                  <c:v>3.07400229481201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8892908657487751E-2</c:v>
                </c:pt>
                <c:pt idx="1">
                  <c:v>2.6234530280175973E-3</c:v>
                </c:pt>
                <c:pt idx="2">
                  <c:v>6.8810208637419172E-3</c:v>
                </c:pt>
                <c:pt idx="3">
                  <c:v>1.9317519375826108E-2</c:v>
                </c:pt>
                <c:pt idx="4">
                  <c:v>5.9162272102533366E-2</c:v>
                </c:pt>
                <c:pt idx="5">
                  <c:v>4.468645038974018E-2</c:v>
                </c:pt>
                <c:pt idx="6">
                  <c:v>8.0534655832967358E-2</c:v>
                </c:pt>
                <c:pt idx="7">
                  <c:v>9.6731978668092425E-2</c:v>
                </c:pt>
                <c:pt idx="8">
                  <c:v>2.1971911358621251E-2</c:v>
                </c:pt>
                <c:pt idx="9">
                  <c:v>6.9257217084613934E-4</c:v>
                </c:pt>
                <c:pt idx="10">
                  <c:v>1.7404743161856447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1.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3.xml"/><Relationship Id="rId5" Type="http://schemas.openxmlformats.org/officeDocument/2006/relationships/chart" Target="../charts/chart8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6.xml"/><Relationship Id="rId5" Type="http://schemas.openxmlformats.org/officeDocument/2006/relationships/chart" Target="../charts/chart85.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3.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5.xml"/><Relationship Id="rId5" Type="http://schemas.openxmlformats.org/officeDocument/2006/relationships/chart" Target="../charts/chart9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9.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8.xml"/><Relationship Id="rId5" Type="http://schemas.openxmlformats.org/officeDocument/2006/relationships/chart" Target="../charts/chart9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01.xml"/><Relationship Id="rId5" Type="http://schemas.openxmlformats.org/officeDocument/2006/relationships/chart" Target="../charts/chart100.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7.xml"/><Relationship Id="rId5" Type="http://schemas.openxmlformats.org/officeDocument/2006/relationships/chart" Target="../charts/chart10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10.xml"/><Relationship Id="rId5" Type="http://schemas.openxmlformats.org/officeDocument/2006/relationships/chart" Target="../charts/chart10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4.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3.xml"/><Relationship Id="rId5" Type="http://schemas.openxmlformats.org/officeDocument/2006/relationships/chart" Target="../charts/chart11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6.xml"/><Relationship Id="rId5" Type="http://schemas.openxmlformats.org/officeDocument/2006/relationships/chart" Target="../charts/chart115.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9.xml"/><Relationship Id="rId5" Type="http://schemas.openxmlformats.org/officeDocument/2006/relationships/chart" Target="../charts/chart118.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3.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2.xml"/><Relationship Id="rId5" Type="http://schemas.openxmlformats.org/officeDocument/2006/relationships/chart" Target="../charts/chart12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6.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5.xml"/><Relationship Id="rId5" Type="http://schemas.openxmlformats.org/officeDocument/2006/relationships/chart" Target="../charts/chart124.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9.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8.xml"/><Relationship Id="rId5" Type="http://schemas.openxmlformats.org/officeDocument/2006/relationships/chart" Target="../charts/chart12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31.xml"/><Relationship Id="rId5" Type="http://schemas.openxmlformats.org/officeDocument/2006/relationships/chart" Target="../charts/chart130.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4.xml"/><Relationship Id="rId5" Type="http://schemas.openxmlformats.org/officeDocument/2006/relationships/chart" Target="../charts/chart133.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8.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7.xml"/><Relationship Id="rId5" Type="http://schemas.openxmlformats.org/officeDocument/2006/relationships/chart" Target="../charts/chart13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1.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40.xml"/><Relationship Id="rId5" Type="http://schemas.openxmlformats.org/officeDocument/2006/relationships/chart" Target="../charts/chart13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4.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3.xml"/><Relationship Id="rId5" Type="http://schemas.openxmlformats.org/officeDocument/2006/relationships/chart" Target="../charts/chart142.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7.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6.xml"/><Relationship Id="rId5" Type="http://schemas.openxmlformats.org/officeDocument/2006/relationships/chart" Target="../charts/chart145.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0.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9.xml"/><Relationship Id="rId5" Type="http://schemas.openxmlformats.org/officeDocument/2006/relationships/chart" Target="../charts/chart148.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3.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2.xml"/><Relationship Id="rId5" Type="http://schemas.openxmlformats.org/officeDocument/2006/relationships/chart" Target="../charts/chart1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6.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5.xml"/><Relationship Id="rId5" Type="http://schemas.openxmlformats.org/officeDocument/2006/relationships/chart" Target="../charts/chart154.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9.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8.xml"/><Relationship Id="rId5" Type="http://schemas.openxmlformats.org/officeDocument/2006/relationships/chart" Target="../charts/chart157.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2.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61.xml"/><Relationship Id="rId5" Type="http://schemas.openxmlformats.org/officeDocument/2006/relationships/chart" Target="../charts/chart160.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5.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4.xml"/><Relationship Id="rId5" Type="http://schemas.openxmlformats.org/officeDocument/2006/relationships/chart" Target="../charts/chart163.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8.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7.xml"/><Relationship Id="rId5" Type="http://schemas.openxmlformats.org/officeDocument/2006/relationships/chart" Target="../charts/chart16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1.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70.xml"/><Relationship Id="rId5" Type="http://schemas.openxmlformats.org/officeDocument/2006/relationships/chart" Target="../charts/chart169.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4.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3.xml"/><Relationship Id="rId5" Type="http://schemas.openxmlformats.org/officeDocument/2006/relationships/chart" Target="../charts/chart172.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7.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6.xml"/><Relationship Id="rId5" Type="http://schemas.openxmlformats.org/officeDocument/2006/relationships/chart" Target="../charts/chart17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0.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9.xml"/><Relationship Id="rId5" Type="http://schemas.openxmlformats.org/officeDocument/2006/relationships/chart" Target="../charts/chart178.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3.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2.xml"/><Relationship Id="rId5" Type="http://schemas.openxmlformats.org/officeDocument/2006/relationships/chart" Target="../charts/chart18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6.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5.xml"/><Relationship Id="rId5" Type="http://schemas.openxmlformats.org/officeDocument/2006/relationships/chart" Target="../charts/chart184.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9.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8.xml"/><Relationship Id="rId5" Type="http://schemas.openxmlformats.org/officeDocument/2006/relationships/chart" Target="../charts/chart187.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2.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91.xml"/><Relationship Id="rId5" Type="http://schemas.openxmlformats.org/officeDocument/2006/relationships/chart" Target="../charts/chart190.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5.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8.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7.xml"/><Relationship Id="rId5" Type="http://schemas.openxmlformats.org/officeDocument/2006/relationships/chart" Target="../charts/chart19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1.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200.xml"/><Relationship Id="rId5" Type="http://schemas.openxmlformats.org/officeDocument/2006/relationships/chart" Target="../charts/chart199.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4.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203.xml"/><Relationship Id="rId5" Type="http://schemas.openxmlformats.org/officeDocument/2006/relationships/chart" Target="../charts/chart202.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7.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206.xml"/><Relationship Id="rId5" Type="http://schemas.openxmlformats.org/officeDocument/2006/relationships/chart" Target="../charts/chart205.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0.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3.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212.xml"/><Relationship Id="rId5" Type="http://schemas.openxmlformats.org/officeDocument/2006/relationships/chart" Target="../charts/chart21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6.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215.xml"/><Relationship Id="rId5" Type="http://schemas.openxmlformats.org/officeDocument/2006/relationships/chart" Target="../charts/chart214.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9.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218.xml"/><Relationship Id="rId5" Type="http://schemas.openxmlformats.org/officeDocument/2006/relationships/chart" Target="../charts/chart217.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2.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221.xml"/><Relationship Id="rId5" Type="http://schemas.openxmlformats.org/officeDocument/2006/relationships/chart" Target="../charts/chart220.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5.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224.xml"/><Relationship Id="rId5" Type="http://schemas.openxmlformats.org/officeDocument/2006/relationships/chart" Target="../charts/chart223.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8.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227.xml"/><Relationship Id="rId5" Type="http://schemas.openxmlformats.org/officeDocument/2006/relationships/chart" Target="../charts/chart22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1.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230.xml"/><Relationship Id="rId5" Type="http://schemas.openxmlformats.org/officeDocument/2006/relationships/chart" Target="../charts/chart229.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4.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233.xml"/><Relationship Id="rId5" Type="http://schemas.openxmlformats.org/officeDocument/2006/relationships/chart" Target="../charts/chart232.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7.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236.xml"/><Relationship Id="rId5" Type="http://schemas.openxmlformats.org/officeDocument/2006/relationships/chart" Target="../charts/chart23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0.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239.xml"/><Relationship Id="rId5" Type="http://schemas.openxmlformats.org/officeDocument/2006/relationships/chart" Target="../charts/chart238.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3.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242.xml"/><Relationship Id="rId5" Type="http://schemas.openxmlformats.org/officeDocument/2006/relationships/chart" Target="../charts/chart24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6.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245.xml"/><Relationship Id="rId5" Type="http://schemas.openxmlformats.org/officeDocument/2006/relationships/chart" Target="../charts/chart244.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9.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248.xml"/><Relationship Id="rId5" Type="http://schemas.openxmlformats.org/officeDocument/2006/relationships/chart" Target="../charts/chart247.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2.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251.xml"/><Relationship Id="rId5" Type="http://schemas.openxmlformats.org/officeDocument/2006/relationships/chart" Target="../charts/chart250.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5.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254.xml"/><Relationship Id="rId5" Type="http://schemas.openxmlformats.org/officeDocument/2006/relationships/chart" Target="../charts/chart253.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8.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257.xml"/><Relationship Id="rId5" Type="http://schemas.openxmlformats.org/officeDocument/2006/relationships/chart" Target="../charts/chart25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1.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260.xml"/><Relationship Id="rId5" Type="http://schemas.openxmlformats.org/officeDocument/2006/relationships/chart" Target="../charts/chart259.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4.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263.xml"/><Relationship Id="rId5" Type="http://schemas.openxmlformats.org/officeDocument/2006/relationships/chart" Target="../charts/chart262.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7.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266.xml"/><Relationship Id="rId5" Type="http://schemas.openxmlformats.org/officeDocument/2006/relationships/chart" Target="../charts/chart265.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0.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269.xml"/><Relationship Id="rId5" Type="http://schemas.openxmlformats.org/officeDocument/2006/relationships/chart" Target="../charts/chart268.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3.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272.xml"/><Relationship Id="rId5" Type="http://schemas.openxmlformats.org/officeDocument/2006/relationships/chart" Target="../charts/chart27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6.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275.xml"/><Relationship Id="rId5" Type="http://schemas.openxmlformats.org/officeDocument/2006/relationships/chart" Target="../charts/chart274.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9.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278.xml"/><Relationship Id="rId5" Type="http://schemas.openxmlformats.org/officeDocument/2006/relationships/chart" Target="../charts/chart277.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2.xml"/><Relationship Id="rId2" Type="http://schemas.openxmlformats.org/officeDocument/2006/relationships/slideLayout" Target="../slideLayouts/slideLayout7.xml"/><Relationship Id="rId1" Type="http://schemas.openxmlformats.org/officeDocument/2006/relationships/tags" Target="../tags/tag121.xml"/><Relationship Id="rId6" Type="http://schemas.openxmlformats.org/officeDocument/2006/relationships/chart" Target="../charts/chart281.xml"/><Relationship Id="rId5" Type="http://schemas.openxmlformats.org/officeDocument/2006/relationships/chart" Target="../charts/chart280.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5.xml"/><Relationship Id="rId2" Type="http://schemas.openxmlformats.org/officeDocument/2006/relationships/slideLayout" Target="../slideLayouts/slideLayout7.xml"/><Relationship Id="rId1" Type="http://schemas.openxmlformats.org/officeDocument/2006/relationships/tags" Target="../tags/tag122.xml"/><Relationship Id="rId6" Type="http://schemas.openxmlformats.org/officeDocument/2006/relationships/chart" Target="../charts/chart284.xml"/><Relationship Id="rId5" Type="http://schemas.openxmlformats.org/officeDocument/2006/relationships/chart" Target="../charts/chart283.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8.xml"/><Relationship Id="rId2" Type="http://schemas.openxmlformats.org/officeDocument/2006/relationships/slideLayout" Target="../slideLayouts/slideLayout7.xml"/><Relationship Id="rId1" Type="http://schemas.openxmlformats.org/officeDocument/2006/relationships/tags" Target="../tags/tag123.xml"/><Relationship Id="rId6" Type="http://schemas.openxmlformats.org/officeDocument/2006/relationships/chart" Target="../charts/chart287.xml"/><Relationship Id="rId5" Type="http://schemas.openxmlformats.org/officeDocument/2006/relationships/chart" Target="../charts/chart28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91.xml"/><Relationship Id="rId2" Type="http://schemas.openxmlformats.org/officeDocument/2006/relationships/slideLayout" Target="../slideLayouts/slideLayout7.xml"/><Relationship Id="rId1" Type="http://schemas.openxmlformats.org/officeDocument/2006/relationships/tags" Target="../tags/tag124.xml"/><Relationship Id="rId6" Type="http://schemas.openxmlformats.org/officeDocument/2006/relationships/chart" Target="../charts/chart290.xml"/><Relationship Id="rId5" Type="http://schemas.openxmlformats.org/officeDocument/2006/relationships/chart" Target="../charts/chart289.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94.xml"/><Relationship Id="rId2" Type="http://schemas.openxmlformats.org/officeDocument/2006/relationships/slideLayout" Target="../slideLayouts/slideLayout7.xml"/><Relationship Id="rId1" Type="http://schemas.openxmlformats.org/officeDocument/2006/relationships/tags" Target="../tags/tag125.xml"/><Relationship Id="rId6" Type="http://schemas.openxmlformats.org/officeDocument/2006/relationships/chart" Target="../charts/chart293.xml"/><Relationship Id="rId5" Type="http://schemas.openxmlformats.org/officeDocument/2006/relationships/chart" Target="../charts/chart292.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97.xml"/><Relationship Id="rId2" Type="http://schemas.openxmlformats.org/officeDocument/2006/relationships/slideLayout" Target="../slideLayouts/slideLayout7.xml"/><Relationship Id="rId1" Type="http://schemas.openxmlformats.org/officeDocument/2006/relationships/tags" Target="../tags/tag126.xml"/><Relationship Id="rId6" Type="http://schemas.openxmlformats.org/officeDocument/2006/relationships/chart" Target="../charts/chart296.xml"/><Relationship Id="rId5" Type="http://schemas.openxmlformats.org/officeDocument/2006/relationships/chart" Target="../charts/chart295.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574525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Ingredient A Chaud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6427450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Ingredient A Chaud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6948397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Ingredient A Chaud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2677333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2251460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50016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8706943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9305885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0580908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0341384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2438098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0163206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2056093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7585475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478727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8851465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9283199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0647811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3848499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56899053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1078030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2884014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1072587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3847042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pecialit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5804929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pecialit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6105363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pecialit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9762426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8181974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56909835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2997304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5486161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1833154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6043611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68592927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7081641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7335340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5158547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Ingredient A Chaud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57797777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Ingredient A Chaud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05761701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Ingredient A Chaud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08809674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26934564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56567256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1280044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8847201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08595331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85041295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57314718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42041347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3316273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7695021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29811976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4719237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19458905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90486639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032362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65064330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0424168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56315837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96125653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54351378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pecialit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64404566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pecialit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15049981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pecialit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6086425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8051909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641403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5681482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03062814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59624631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62007901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9003234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97145360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13450486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05359585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Ingredient A Chaud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48328434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Ingredient A Chaud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65039665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Ingredient A Chaud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5406605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5002443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28824108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70544973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12551345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76232048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13256439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01802913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79858107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33024420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25042934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16502142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1059880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7183087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51839464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8280005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5587089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32301931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65257350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7197708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95757133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pecialit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65056868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pecialit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14084595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pecialit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4006713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8883</Words>
  <Application>Microsoft Office PowerPoint</Application>
  <PresentationFormat>On-screen Show (16:9)</PresentationFormat>
  <Paragraphs>3043</Paragraphs>
  <Slides>99</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99</vt:i4>
      </vt:variant>
    </vt:vector>
  </HeadingPairs>
  <TitlesOfParts>
    <vt:vector size="108" baseType="lpstr">
      <vt:lpstr>Aptos</vt:lpstr>
      <vt:lpstr>Arial</vt:lpstr>
      <vt:lpstr>Nexa</vt:lpstr>
      <vt:lpstr>Nexa Bold</vt:lpstr>
      <vt:lpstr>Nexa Book</vt:lpstr>
      <vt:lpstr>Nexa Book Italic</vt:lpstr>
      <vt:lpstr>Open Sans</vt:lpstr>
      <vt:lpstr>1_PricingOne Light Template Oct 2024</vt:lpstr>
      <vt:lpstr>think-cell Slide</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10T14:29: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